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51" r:id="rId4"/>
  </p:sldMasterIdLst>
  <p:notesMasterIdLst>
    <p:notesMasterId r:id="rId59"/>
  </p:notesMasterIdLst>
  <p:handoutMasterIdLst>
    <p:handoutMasterId r:id="rId60"/>
  </p:handoutMasterIdLst>
  <p:sldIdLst>
    <p:sldId id="1719" r:id="rId5"/>
    <p:sldId id="1953" r:id="rId6"/>
    <p:sldId id="1954" r:id="rId7"/>
    <p:sldId id="1941" r:id="rId8"/>
    <p:sldId id="1878" r:id="rId9"/>
    <p:sldId id="261" r:id="rId10"/>
    <p:sldId id="262" r:id="rId11"/>
    <p:sldId id="1877" r:id="rId12"/>
    <p:sldId id="1909" r:id="rId13"/>
    <p:sldId id="266" r:id="rId14"/>
    <p:sldId id="282" r:id="rId15"/>
    <p:sldId id="264" r:id="rId16"/>
    <p:sldId id="265" r:id="rId17"/>
    <p:sldId id="1949" r:id="rId18"/>
    <p:sldId id="1950" r:id="rId19"/>
    <p:sldId id="1951" r:id="rId20"/>
    <p:sldId id="1952" r:id="rId21"/>
    <p:sldId id="1961" r:id="rId22"/>
    <p:sldId id="1962" r:id="rId23"/>
    <p:sldId id="1955" r:id="rId24"/>
    <p:sldId id="1966" r:id="rId25"/>
    <p:sldId id="1921" r:id="rId26"/>
    <p:sldId id="1910" r:id="rId27"/>
    <p:sldId id="1911" r:id="rId28"/>
    <p:sldId id="1900" r:id="rId29"/>
    <p:sldId id="1914" r:id="rId30"/>
    <p:sldId id="1495" r:id="rId31"/>
    <p:sldId id="1496" r:id="rId32"/>
    <p:sldId id="1967" r:id="rId33"/>
    <p:sldId id="281" r:id="rId34"/>
    <p:sldId id="1959" r:id="rId35"/>
    <p:sldId id="1968" r:id="rId36"/>
    <p:sldId id="1898" r:id="rId37"/>
    <p:sldId id="269" r:id="rId38"/>
    <p:sldId id="270" r:id="rId39"/>
    <p:sldId id="1903" r:id="rId40"/>
    <p:sldId id="1969" r:id="rId41"/>
    <p:sldId id="1916" r:id="rId42"/>
    <p:sldId id="1908" r:id="rId43"/>
    <p:sldId id="1918" r:id="rId44"/>
    <p:sldId id="1919" r:id="rId45"/>
    <p:sldId id="1920" r:id="rId46"/>
    <p:sldId id="1922" r:id="rId47"/>
    <p:sldId id="1925" r:id="rId48"/>
    <p:sldId id="1958" r:id="rId49"/>
    <p:sldId id="1929" r:id="rId50"/>
    <p:sldId id="1927" r:id="rId51"/>
    <p:sldId id="1947" r:id="rId52"/>
    <p:sldId id="1960" r:id="rId53"/>
    <p:sldId id="1928" r:id="rId54"/>
    <p:sldId id="1956" r:id="rId55"/>
    <p:sldId id="1931" r:id="rId56"/>
    <p:sldId id="1957" r:id="rId57"/>
    <p:sldId id="1870" r:id="rId5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0000"/>
    <a:srgbClr val="ABABAB"/>
    <a:srgbClr val="EBEBEB"/>
    <a:srgbClr val="59B4D9"/>
    <a:srgbClr val="FFFFFF"/>
    <a:srgbClr val="FFF100"/>
    <a:srgbClr val="75757A"/>
    <a:srgbClr val="3C3C41"/>
    <a:srgbClr val="30E5D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2F46DC-E0B5-4390-8BB3-0DE87E96D786}" v="48" dt="2022-04-01T19:44: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21" autoAdjust="0"/>
    <p:restoredTop sz="77203" autoAdjust="0"/>
  </p:normalViewPr>
  <p:slideViewPr>
    <p:cSldViewPr snapToGrid="0">
      <p:cViewPr varScale="1">
        <p:scale>
          <a:sx n="66" d="100"/>
          <a:sy n="66" d="100"/>
        </p:scale>
        <p:origin x="48" y="2310"/>
      </p:cViewPr>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iz Macedo" userId="7b3c29be-d15f-473b-8b79-40ce79eed9b8" providerId="ADAL" clId="{ADD9F53D-FF70-4A3F-891E-DA8B6CCFA1DE}"/>
    <pc:docChg chg="undo redo custSel addSld delSld modSld sldOrd">
      <pc:chgData name="Luiz Macedo" userId="7b3c29be-d15f-473b-8b79-40ce79eed9b8" providerId="ADAL" clId="{ADD9F53D-FF70-4A3F-891E-DA8B6CCFA1DE}" dt="2022-03-10T23:33:44.779" v="310" actId="20577"/>
      <pc:docMkLst>
        <pc:docMk/>
      </pc:docMkLst>
      <pc:sldChg chg="add">
        <pc:chgData name="Luiz Macedo" userId="7b3c29be-d15f-473b-8b79-40ce79eed9b8" providerId="ADAL" clId="{ADD9F53D-FF70-4A3F-891E-DA8B6CCFA1DE}" dt="2022-03-10T22:59:11.909" v="228"/>
        <pc:sldMkLst>
          <pc:docMk/>
          <pc:sldMk cId="2105102561" sldId="261"/>
        </pc:sldMkLst>
      </pc:sldChg>
      <pc:sldChg chg="modSp add mod">
        <pc:chgData name="Luiz Macedo" userId="7b3c29be-d15f-473b-8b79-40ce79eed9b8" providerId="ADAL" clId="{ADD9F53D-FF70-4A3F-891E-DA8B6CCFA1DE}" dt="2022-03-10T23:01:47.679" v="229"/>
        <pc:sldMkLst>
          <pc:docMk/>
          <pc:sldMk cId="4213750559" sldId="262"/>
        </pc:sldMkLst>
        <pc:spChg chg="mod">
          <ac:chgData name="Luiz Macedo" userId="7b3c29be-d15f-473b-8b79-40ce79eed9b8" providerId="ADAL" clId="{ADD9F53D-FF70-4A3F-891E-DA8B6CCFA1DE}" dt="2022-03-10T23:01:47.679" v="229"/>
          <ac:spMkLst>
            <pc:docMk/>
            <pc:sldMk cId="4213750559" sldId="262"/>
            <ac:spMk id="2" creationId="{445B513F-2D0F-41C6-ADDA-C612BBEC95E5}"/>
          </ac:spMkLst>
        </pc:spChg>
      </pc:sldChg>
      <pc:sldChg chg="add">
        <pc:chgData name="Luiz Macedo" userId="7b3c29be-d15f-473b-8b79-40ce79eed9b8" providerId="ADAL" clId="{ADD9F53D-FF70-4A3F-891E-DA8B6CCFA1DE}" dt="2022-03-10T22:59:11.909" v="228"/>
        <pc:sldMkLst>
          <pc:docMk/>
          <pc:sldMk cId="391102864" sldId="264"/>
        </pc:sldMkLst>
      </pc:sldChg>
      <pc:sldChg chg="add">
        <pc:chgData name="Luiz Macedo" userId="7b3c29be-d15f-473b-8b79-40ce79eed9b8" providerId="ADAL" clId="{ADD9F53D-FF70-4A3F-891E-DA8B6CCFA1DE}" dt="2022-03-10T22:59:11.909" v="228"/>
        <pc:sldMkLst>
          <pc:docMk/>
          <pc:sldMk cId="1677140489" sldId="265"/>
        </pc:sldMkLst>
      </pc:sldChg>
      <pc:sldChg chg="modSp add mod ord">
        <pc:chgData name="Luiz Macedo" userId="7b3c29be-d15f-473b-8b79-40ce79eed9b8" providerId="ADAL" clId="{ADD9F53D-FF70-4A3F-891E-DA8B6CCFA1DE}" dt="2022-03-10T23:03:32.159" v="240"/>
        <pc:sldMkLst>
          <pc:docMk/>
          <pc:sldMk cId="2831617250" sldId="266"/>
        </pc:sldMkLst>
        <pc:spChg chg="mod">
          <ac:chgData name="Luiz Macedo" userId="7b3c29be-d15f-473b-8b79-40ce79eed9b8" providerId="ADAL" clId="{ADD9F53D-FF70-4A3F-891E-DA8B6CCFA1DE}" dt="2022-03-10T23:03:32.159" v="240"/>
          <ac:spMkLst>
            <pc:docMk/>
            <pc:sldMk cId="2831617250" sldId="266"/>
            <ac:spMk id="2" creationId="{B42837B3-E2D3-4786-A4E1-E672770A0FF3}"/>
          </ac:spMkLst>
        </pc:spChg>
      </pc:sldChg>
      <pc:sldChg chg="modSp add mod ord">
        <pc:chgData name="Luiz Macedo" userId="7b3c29be-d15f-473b-8b79-40ce79eed9b8" providerId="ADAL" clId="{ADD9F53D-FF70-4A3F-891E-DA8B6CCFA1DE}" dt="2022-03-10T23:07:40.633" v="251"/>
        <pc:sldMkLst>
          <pc:docMk/>
          <pc:sldMk cId="4001730690" sldId="267"/>
        </pc:sldMkLst>
        <pc:spChg chg="mod">
          <ac:chgData name="Luiz Macedo" userId="7b3c29be-d15f-473b-8b79-40ce79eed9b8" providerId="ADAL" clId="{ADD9F53D-FF70-4A3F-891E-DA8B6CCFA1DE}" dt="2022-03-10T23:07:40.633" v="251"/>
          <ac:spMkLst>
            <pc:docMk/>
            <pc:sldMk cId="4001730690" sldId="267"/>
            <ac:spMk id="2" creationId="{337BF17E-CCC7-4560-8DBA-BE8EBA371D23}"/>
          </ac:spMkLst>
        </pc:spChg>
      </pc:sldChg>
      <pc:sldChg chg="ord">
        <pc:chgData name="Luiz Macedo" userId="7b3c29be-d15f-473b-8b79-40ce79eed9b8" providerId="ADAL" clId="{ADD9F53D-FF70-4A3F-891E-DA8B6CCFA1DE}" dt="2022-03-10T23:27:59.456" v="293"/>
        <pc:sldMkLst>
          <pc:docMk/>
          <pc:sldMk cId="1062378438" sldId="269"/>
        </pc:sldMkLst>
      </pc:sldChg>
      <pc:sldChg chg="ord">
        <pc:chgData name="Luiz Macedo" userId="7b3c29be-d15f-473b-8b79-40ce79eed9b8" providerId="ADAL" clId="{ADD9F53D-FF70-4A3F-891E-DA8B6CCFA1DE}" dt="2022-03-10T23:27:59.456" v="293"/>
        <pc:sldMkLst>
          <pc:docMk/>
          <pc:sldMk cId="1525562275" sldId="270"/>
        </pc:sldMkLst>
      </pc:sldChg>
      <pc:sldChg chg="ord">
        <pc:chgData name="Luiz Macedo" userId="7b3c29be-d15f-473b-8b79-40ce79eed9b8" providerId="ADAL" clId="{ADD9F53D-FF70-4A3F-891E-DA8B6CCFA1DE}" dt="2022-03-10T23:19:09.206" v="283"/>
        <pc:sldMkLst>
          <pc:docMk/>
          <pc:sldMk cId="2604488682" sldId="281"/>
        </pc:sldMkLst>
      </pc:sldChg>
      <pc:sldChg chg="modSp mod ord">
        <pc:chgData name="Luiz Macedo" userId="7b3c29be-d15f-473b-8b79-40ce79eed9b8" providerId="ADAL" clId="{ADD9F53D-FF70-4A3F-891E-DA8B6CCFA1DE}" dt="2022-03-10T23:05:29.060" v="245"/>
        <pc:sldMkLst>
          <pc:docMk/>
          <pc:sldMk cId="2627983565" sldId="282"/>
        </pc:sldMkLst>
        <pc:spChg chg="mod">
          <ac:chgData name="Luiz Macedo" userId="7b3c29be-d15f-473b-8b79-40ce79eed9b8" providerId="ADAL" clId="{ADD9F53D-FF70-4A3F-891E-DA8B6CCFA1DE}" dt="2022-03-10T23:05:29.060" v="245"/>
          <ac:spMkLst>
            <pc:docMk/>
            <pc:sldMk cId="2627983565" sldId="282"/>
            <ac:spMk id="2" creationId="{7AF8F6A3-7468-4B07-9B89-7F4CFF65B794}"/>
          </ac:spMkLst>
        </pc:spChg>
        <pc:spChg chg="mod">
          <ac:chgData name="Luiz Macedo" userId="7b3c29be-d15f-473b-8b79-40ce79eed9b8" providerId="ADAL" clId="{ADD9F53D-FF70-4A3F-891E-DA8B6CCFA1DE}" dt="2022-03-02T15:44:05.801" v="150" actId="20577"/>
          <ac:spMkLst>
            <pc:docMk/>
            <pc:sldMk cId="2627983565" sldId="282"/>
            <ac:spMk id="5" creationId="{DBCC0043-D8A8-49B5-891C-95C5E50C52BA}"/>
          </ac:spMkLst>
        </pc:spChg>
      </pc:sldChg>
      <pc:sldChg chg="ord">
        <pc:chgData name="Luiz Macedo" userId="7b3c29be-d15f-473b-8b79-40ce79eed9b8" providerId="ADAL" clId="{ADD9F53D-FF70-4A3F-891E-DA8B6CCFA1DE}" dt="2022-03-10T23:17:58.148" v="279"/>
        <pc:sldMkLst>
          <pc:docMk/>
          <pc:sldMk cId="1605244184" sldId="1495"/>
        </pc:sldMkLst>
      </pc:sldChg>
      <pc:sldChg chg="ord">
        <pc:chgData name="Luiz Macedo" userId="7b3c29be-d15f-473b-8b79-40ce79eed9b8" providerId="ADAL" clId="{ADD9F53D-FF70-4A3F-891E-DA8B6CCFA1DE}" dt="2022-03-10T23:18:30.344" v="281"/>
        <pc:sldMkLst>
          <pc:docMk/>
          <pc:sldMk cId="2501132300" sldId="1496"/>
        </pc:sldMkLst>
      </pc:sldChg>
      <pc:sldChg chg="modSp mod">
        <pc:chgData name="Luiz Macedo" userId="7b3c29be-d15f-473b-8b79-40ce79eed9b8" providerId="ADAL" clId="{ADD9F53D-FF70-4A3F-891E-DA8B6CCFA1DE}" dt="2022-03-10T23:33:44.779" v="310" actId="20577"/>
        <pc:sldMkLst>
          <pc:docMk/>
          <pc:sldMk cId="3635852913" sldId="1719"/>
        </pc:sldMkLst>
        <pc:spChg chg="mod">
          <ac:chgData name="Luiz Macedo" userId="7b3c29be-d15f-473b-8b79-40ce79eed9b8" providerId="ADAL" clId="{ADD9F53D-FF70-4A3F-891E-DA8B6CCFA1DE}" dt="2022-03-10T23:33:44.779" v="310" actId="20577"/>
          <ac:spMkLst>
            <pc:docMk/>
            <pc:sldMk cId="3635852913" sldId="1719"/>
            <ac:spMk id="4" creationId="{00000000-0000-0000-0000-000000000000}"/>
          </ac:spMkLst>
        </pc:spChg>
      </pc:sldChg>
      <pc:sldChg chg="del">
        <pc:chgData name="Luiz Macedo" userId="7b3c29be-d15f-473b-8b79-40ce79eed9b8" providerId="ADAL" clId="{ADD9F53D-FF70-4A3F-891E-DA8B6CCFA1DE}" dt="2022-03-10T22:07:38.103" v="189" actId="2696"/>
        <pc:sldMkLst>
          <pc:docMk/>
          <pc:sldMk cId="467793065" sldId="1859"/>
        </pc:sldMkLst>
      </pc:sldChg>
      <pc:sldChg chg="addSp delSp modSp mod ord modNotesTx">
        <pc:chgData name="Luiz Macedo" userId="7b3c29be-d15f-473b-8b79-40ce79eed9b8" providerId="ADAL" clId="{ADD9F53D-FF70-4A3F-891E-DA8B6CCFA1DE}" dt="2022-03-10T23:02:46.087" v="236"/>
        <pc:sldMkLst>
          <pc:docMk/>
          <pc:sldMk cId="2128001038" sldId="1877"/>
        </pc:sldMkLst>
        <pc:spChg chg="mod">
          <ac:chgData name="Luiz Macedo" userId="7b3c29be-d15f-473b-8b79-40ce79eed9b8" providerId="ADAL" clId="{ADD9F53D-FF70-4A3F-891E-DA8B6CCFA1DE}" dt="2022-02-25T22:58:55.675" v="5" actId="20577"/>
          <ac:spMkLst>
            <pc:docMk/>
            <pc:sldMk cId="2128001038" sldId="1877"/>
            <ac:spMk id="11" creationId="{A70B1761-B818-4A25-B681-AA1A0C42DC84}"/>
          </ac:spMkLst>
        </pc:spChg>
        <pc:spChg chg="mod">
          <ac:chgData name="Luiz Macedo" userId="7b3c29be-d15f-473b-8b79-40ce79eed9b8" providerId="ADAL" clId="{ADD9F53D-FF70-4A3F-891E-DA8B6CCFA1DE}" dt="2022-03-10T23:02:26.891" v="232"/>
          <ac:spMkLst>
            <pc:docMk/>
            <pc:sldMk cId="2128001038" sldId="1877"/>
            <ac:spMk id="17" creationId="{00000000-0000-0000-0000-000000000000}"/>
          </ac:spMkLst>
        </pc:spChg>
        <pc:spChg chg="mod">
          <ac:chgData name="Luiz Macedo" userId="7b3c29be-d15f-473b-8b79-40ce79eed9b8" providerId="ADAL" clId="{ADD9F53D-FF70-4A3F-891E-DA8B6CCFA1DE}" dt="2022-03-02T15:44:07.111" v="153" actId="20577"/>
          <ac:spMkLst>
            <pc:docMk/>
            <pc:sldMk cId="2128001038" sldId="1877"/>
            <ac:spMk id="29" creationId="{471E2DE3-3623-4515-A01C-198B5FD51652}"/>
          </ac:spMkLst>
        </pc:spChg>
        <pc:picChg chg="add mod">
          <ac:chgData name="Luiz Macedo" userId="7b3c29be-d15f-473b-8b79-40ce79eed9b8" providerId="ADAL" clId="{ADD9F53D-FF70-4A3F-891E-DA8B6CCFA1DE}" dt="2022-03-02T15:45:46.805" v="172" actId="1076"/>
          <ac:picMkLst>
            <pc:docMk/>
            <pc:sldMk cId="2128001038" sldId="1877"/>
            <ac:picMk id="3" creationId="{B8CC0AE6-954D-480F-9FE1-F6510C2C3B43}"/>
          </ac:picMkLst>
        </pc:picChg>
        <pc:picChg chg="del mod">
          <ac:chgData name="Luiz Macedo" userId="7b3c29be-d15f-473b-8b79-40ce79eed9b8" providerId="ADAL" clId="{ADD9F53D-FF70-4A3F-891E-DA8B6CCFA1DE}" dt="2022-03-02T15:45:42.661" v="171" actId="478"/>
          <ac:picMkLst>
            <pc:docMk/>
            <pc:sldMk cId="2128001038" sldId="1877"/>
            <ac:picMk id="5" creationId="{8D9344B3-1A33-419E-BBD3-6E5FEA55E58A}"/>
          </ac:picMkLst>
        </pc:picChg>
      </pc:sldChg>
      <pc:sldChg chg="modSp mod">
        <pc:chgData name="Luiz Macedo" userId="7b3c29be-d15f-473b-8b79-40ce79eed9b8" providerId="ADAL" clId="{ADD9F53D-FF70-4A3F-891E-DA8B6CCFA1DE}" dt="2022-03-10T22:39:33.848" v="207"/>
        <pc:sldMkLst>
          <pc:docMk/>
          <pc:sldMk cId="2624785565" sldId="1878"/>
        </pc:sldMkLst>
        <pc:spChg chg="mod">
          <ac:chgData name="Luiz Macedo" userId="7b3c29be-d15f-473b-8b79-40ce79eed9b8" providerId="ADAL" clId="{ADD9F53D-FF70-4A3F-891E-DA8B6CCFA1DE}" dt="2022-03-10T22:39:33.848" v="207"/>
          <ac:spMkLst>
            <pc:docMk/>
            <pc:sldMk cId="2624785565" sldId="1878"/>
            <ac:spMk id="4" creationId="{00000000-0000-0000-0000-000000000000}"/>
          </ac:spMkLst>
        </pc:spChg>
      </pc:sldChg>
      <pc:sldChg chg="modSp del mod">
        <pc:chgData name="Luiz Macedo" userId="7b3c29be-d15f-473b-8b79-40ce79eed9b8" providerId="ADAL" clId="{ADD9F53D-FF70-4A3F-891E-DA8B6CCFA1DE}" dt="2022-03-10T23:27:09.554" v="284" actId="2696"/>
        <pc:sldMkLst>
          <pc:docMk/>
          <pc:sldMk cId="1587072904" sldId="1885"/>
        </pc:sldMkLst>
        <pc:spChg chg="mod">
          <ac:chgData name="Luiz Macedo" userId="7b3c29be-d15f-473b-8b79-40ce79eed9b8" providerId="ADAL" clId="{ADD9F53D-FF70-4A3F-891E-DA8B6CCFA1DE}" dt="2022-03-01T23:05:04.402" v="105"/>
          <ac:spMkLst>
            <pc:docMk/>
            <pc:sldMk cId="1587072904" sldId="1885"/>
            <ac:spMk id="4" creationId="{00000000-0000-0000-0000-000000000000}"/>
          </ac:spMkLst>
        </pc:spChg>
      </pc:sldChg>
      <pc:sldChg chg="ord">
        <pc:chgData name="Luiz Macedo" userId="7b3c29be-d15f-473b-8b79-40ce79eed9b8" providerId="ADAL" clId="{ADD9F53D-FF70-4A3F-891E-DA8B6CCFA1DE}" dt="2022-03-10T23:27:29.519" v="288"/>
        <pc:sldMkLst>
          <pc:docMk/>
          <pc:sldMk cId="1517193746" sldId="1898"/>
        </pc:sldMkLst>
      </pc:sldChg>
      <pc:sldChg chg="ord">
        <pc:chgData name="Luiz Macedo" userId="7b3c29be-d15f-473b-8b79-40ce79eed9b8" providerId="ADAL" clId="{ADD9F53D-FF70-4A3F-891E-DA8B6CCFA1DE}" dt="2022-03-10T23:17:06.785" v="275"/>
        <pc:sldMkLst>
          <pc:docMk/>
          <pc:sldMk cId="2127942544" sldId="1900"/>
        </pc:sldMkLst>
      </pc:sldChg>
      <pc:sldChg chg="mod ord modShow">
        <pc:chgData name="Luiz Macedo" userId="7b3c29be-d15f-473b-8b79-40ce79eed9b8" providerId="ADAL" clId="{ADD9F53D-FF70-4A3F-891E-DA8B6CCFA1DE}" dt="2022-03-10T23:12:58.442" v="266"/>
        <pc:sldMkLst>
          <pc:docMk/>
          <pc:sldMk cId="2896021063" sldId="1901"/>
        </pc:sldMkLst>
      </pc:sldChg>
      <pc:sldChg chg="ord">
        <pc:chgData name="Luiz Macedo" userId="7b3c29be-d15f-473b-8b79-40ce79eed9b8" providerId="ADAL" clId="{ADD9F53D-FF70-4A3F-891E-DA8B6CCFA1DE}" dt="2022-03-10T23:28:01.331" v="295"/>
        <pc:sldMkLst>
          <pc:docMk/>
          <pc:sldMk cId="2855357619" sldId="1903"/>
        </pc:sldMkLst>
      </pc:sldChg>
      <pc:sldChg chg="del">
        <pc:chgData name="Luiz Macedo" userId="7b3c29be-d15f-473b-8b79-40ce79eed9b8" providerId="ADAL" clId="{ADD9F53D-FF70-4A3F-891E-DA8B6CCFA1DE}" dt="2022-03-10T22:07:38.103" v="189" actId="2696"/>
        <pc:sldMkLst>
          <pc:docMk/>
          <pc:sldMk cId="1905722822" sldId="1905"/>
        </pc:sldMkLst>
      </pc:sldChg>
      <pc:sldChg chg="modSp del mod">
        <pc:chgData name="Luiz Macedo" userId="7b3c29be-d15f-473b-8b79-40ce79eed9b8" providerId="ADAL" clId="{ADD9F53D-FF70-4A3F-891E-DA8B6CCFA1DE}" dt="2022-03-10T23:28:38.828" v="297" actId="47"/>
        <pc:sldMkLst>
          <pc:docMk/>
          <pc:sldMk cId="2093996267" sldId="1906"/>
        </pc:sldMkLst>
        <pc:spChg chg="mod">
          <ac:chgData name="Luiz Macedo" userId="7b3c29be-d15f-473b-8b79-40ce79eed9b8" providerId="ADAL" clId="{ADD9F53D-FF70-4A3F-891E-DA8B6CCFA1DE}" dt="2022-03-01T23:04:57.662" v="103"/>
          <ac:spMkLst>
            <pc:docMk/>
            <pc:sldMk cId="2093996267" sldId="1906"/>
            <ac:spMk id="4" creationId="{00000000-0000-0000-0000-000000000000}"/>
          </ac:spMkLst>
        </pc:spChg>
      </pc:sldChg>
      <pc:sldChg chg="modSp mod">
        <pc:chgData name="Luiz Macedo" userId="7b3c29be-d15f-473b-8b79-40ce79eed9b8" providerId="ADAL" clId="{ADD9F53D-FF70-4A3F-891E-DA8B6CCFA1DE}" dt="2022-03-10T23:28:58.893" v="298"/>
        <pc:sldMkLst>
          <pc:docMk/>
          <pc:sldMk cId="3097470371" sldId="1908"/>
        </pc:sldMkLst>
        <pc:spChg chg="mod">
          <ac:chgData name="Luiz Macedo" userId="7b3c29be-d15f-473b-8b79-40ce79eed9b8" providerId="ADAL" clId="{ADD9F53D-FF70-4A3F-891E-DA8B6CCFA1DE}" dt="2022-03-10T23:28:58.893" v="298"/>
          <ac:spMkLst>
            <pc:docMk/>
            <pc:sldMk cId="3097470371" sldId="1908"/>
            <ac:spMk id="17" creationId="{00000000-0000-0000-0000-000000000000}"/>
          </ac:spMkLst>
        </pc:spChg>
      </pc:sldChg>
      <pc:sldChg chg="modSp mod ord modNotesTx">
        <pc:chgData name="Luiz Macedo" userId="7b3c29be-d15f-473b-8b79-40ce79eed9b8" providerId="ADAL" clId="{ADD9F53D-FF70-4A3F-891E-DA8B6CCFA1DE}" dt="2022-03-10T23:02:59.423" v="237"/>
        <pc:sldMkLst>
          <pc:docMk/>
          <pc:sldMk cId="1933311374" sldId="1909"/>
        </pc:sldMkLst>
        <pc:spChg chg="mod">
          <ac:chgData name="Luiz Macedo" userId="7b3c29be-d15f-473b-8b79-40ce79eed9b8" providerId="ADAL" clId="{ADD9F53D-FF70-4A3F-891E-DA8B6CCFA1DE}" dt="2022-03-10T23:02:59.423" v="237"/>
          <ac:spMkLst>
            <pc:docMk/>
            <pc:sldMk cId="1933311374" sldId="1909"/>
            <ac:spMk id="2" creationId="{38A2A7F1-04F2-4BA2-A175-CFA10C37119D}"/>
          </ac:spMkLst>
        </pc:spChg>
      </pc:sldChg>
      <pc:sldChg chg="ord">
        <pc:chgData name="Luiz Macedo" userId="7b3c29be-d15f-473b-8b79-40ce79eed9b8" providerId="ADAL" clId="{ADD9F53D-FF70-4A3F-891E-DA8B6CCFA1DE}" dt="2022-03-10T23:13:26.519" v="268"/>
        <pc:sldMkLst>
          <pc:docMk/>
          <pc:sldMk cId="714624331" sldId="1910"/>
        </pc:sldMkLst>
      </pc:sldChg>
      <pc:sldChg chg="ord">
        <pc:chgData name="Luiz Macedo" userId="7b3c29be-d15f-473b-8b79-40ce79eed9b8" providerId="ADAL" clId="{ADD9F53D-FF70-4A3F-891E-DA8B6CCFA1DE}" dt="2022-03-10T23:16:20.430" v="271"/>
        <pc:sldMkLst>
          <pc:docMk/>
          <pc:sldMk cId="520336558" sldId="1911"/>
        </pc:sldMkLst>
      </pc:sldChg>
      <pc:sldChg chg="del modNotesTx">
        <pc:chgData name="Luiz Macedo" userId="7b3c29be-d15f-473b-8b79-40ce79eed9b8" providerId="ADAL" clId="{ADD9F53D-FF70-4A3F-891E-DA8B6CCFA1DE}" dt="2022-03-10T23:16:15.254" v="269" actId="47"/>
        <pc:sldMkLst>
          <pc:docMk/>
          <pc:sldMk cId="1564636046" sldId="1912"/>
        </pc:sldMkLst>
      </pc:sldChg>
      <pc:sldChg chg="del">
        <pc:chgData name="Luiz Macedo" userId="7b3c29be-d15f-473b-8b79-40ce79eed9b8" providerId="ADAL" clId="{ADD9F53D-FF70-4A3F-891E-DA8B6CCFA1DE}" dt="2022-03-10T23:16:15.254" v="269" actId="47"/>
        <pc:sldMkLst>
          <pc:docMk/>
          <pc:sldMk cId="2655664660" sldId="1913"/>
        </pc:sldMkLst>
      </pc:sldChg>
      <pc:sldChg chg="ord">
        <pc:chgData name="Luiz Macedo" userId="7b3c29be-d15f-473b-8b79-40ce79eed9b8" providerId="ADAL" clId="{ADD9F53D-FF70-4A3F-891E-DA8B6CCFA1DE}" dt="2022-03-10T23:17:19.396" v="277"/>
        <pc:sldMkLst>
          <pc:docMk/>
          <pc:sldMk cId="3928665273" sldId="1914"/>
        </pc:sldMkLst>
      </pc:sldChg>
      <pc:sldChg chg="del">
        <pc:chgData name="Luiz Macedo" userId="7b3c29be-d15f-473b-8b79-40ce79eed9b8" providerId="ADAL" clId="{ADD9F53D-FF70-4A3F-891E-DA8B6CCFA1DE}" dt="2022-03-10T23:16:15.254" v="269" actId="47"/>
        <pc:sldMkLst>
          <pc:docMk/>
          <pc:sldMk cId="39607671" sldId="1915"/>
        </pc:sldMkLst>
      </pc:sldChg>
      <pc:sldChg chg="del mod modShow">
        <pc:chgData name="Luiz Macedo" userId="7b3c29be-d15f-473b-8b79-40ce79eed9b8" providerId="ADAL" clId="{ADD9F53D-FF70-4A3F-891E-DA8B6CCFA1DE}" dt="2022-03-02T17:23:57.268" v="175" actId="2696"/>
        <pc:sldMkLst>
          <pc:docMk/>
          <pc:sldMk cId="279912790" sldId="1917"/>
        </pc:sldMkLst>
      </pc:sldChg>
      <pc:sldChg chg="modSp mod modNotesTx">
        <pc:chgData name="Luiz Macedo" userId="7b3c29be-d15f-473b-8b79-40ce79eed9b8" providerId="ADAL" clId="{ADD9F53D-FF70-4A3F-891E-DA8B6CCFA1DE}" dt="2022-03-10T23:29:51.402" v="303" actId="313"/>
        <pc:sldMkLst>
          <pc:docMk/>
          <pc:sldMk cId="2815425515" sldId="1918"/>
        </pc:sldMkLst>
        <pc:spChg chg="mod">
          <ac:chgData name="Luiz Macedo" userId="7b3c29be-d15f-473b-8b79-40ce79eed9b8" providerId="ADAL" clId="{ADD9F53D-FF70-4A3F-891E-DA8B6CCFA1DE}" dt="2022-03-10T23:29:16.091" v="301"/>
          <ac:spMkLst>
            <pc:docMk/>
            <pc:sldMk cId="2815425515" sldId="1918"/>
            <ac:spMk id="2" creationId="{EF39CA7E-AE01-480A-AAB4-23DEDAD8750F}"/>
          </ac:spMkLst>
        </pc:spChg>
      </pc:sldChg>
      <pc:sldChg chg="ord">
        <pc:chgData name="Luiz Macedo" userId="7b3c29be-d15f-473b-8b79-40ce79eed9b8" providerId="ADAL" clId="{ADD9F53D-FF70-4A3F-891E-DA8B6CCFA1DE}" dt="2022-03-10T23:12:58.442" v="266"/>
        <pc:sldMkLst>
          <pc:docMk/>
          <pc:sldMk cId="1219001742" sldId="1921"/>
        </pc:sldMkLst>
      </pc:sldChg>
      <pc:sldChg chg="modSp mod">
        <pc:chgData name="Luiz Macedo" userId="7b3c29be-d15f-473b-8b79-40ce79eed9b8" providerId="ADAL" clId="{ADD9F53D-FF70-4A3F-891E-DA8B6CCFA1DE}" dt="2022-03-10T23:29:54.063" v="304" actId="313"/>
        <pc:sldMkLst>
          <pc:docMk/>
          <pc:sldMk cId="1435531668" sldId="1922"/>
        </pc:sldMkLst>
        <pc:spChg chg="mod">
          <ac:chgData name="Luiz Macedo" userId="7b3c29be-d15f-473b-8b79-40ce79eed9b8" providerId="ADAL" clId="{ADD9F53D-FF70-4A3F-891E-DA8B6CCFA1DE}" dt="2022-03-10T23:29:54.063" v="304" actId="313"/>
          <ac:spMkLst>
            <pc:docMk/>
            <pc:sldMk cId="1435531668" sldId="1922"/>
            <ac:spMk id="28" creationId="{F5635109-7EA9-467F-B3C8-C309949C9227}"/>
          </ac:spMkLst>
        </pc:spChg>
      </pc:sldChg>
      <pc:sldChg chg="modSp mod">
        <pc:chgData name="Luiz Macedo" userId="7b3c29be-d15f-473b-8b79-40ce79eed9b8" providerId="ADAL" clId="{ADD9F53D-FF70-4A3F-891E-DA8B6CCFA1DE}" dt="2022-03-10T23:31:19.409" v="306"/>
        <pc:sldMkLst>
          <pc:docMk/>
          <pc:sldMk cId="354591438" sldId="1929"/>
        </pc:sldMkLst>
        <pc:spChg chg="mod">
          <ac:chgData name="Luiz Macedo" userId="7b3c29be-d15f-473b-8b79-40ce79eed9b8" providerId="ADAL" clId="{ADD9F53D-FF70-4A3F-891E-DA8B6CCFA1DE}" dt="2022-03-10T23:31:19.409" v="306"/>
          <ac:spMkLst>
            <pc:docMk/>
            <pc:sldMk cId="354591438" sldId="1929"/>
            <ac:spMk id="2" creationId="{6A415563-0CCF-4B2D-8D8F-A21F45DF323B}"/>
          </ac:spMkLst>
        </pc:spChg>
      </pc:sldChg>
      <pc:sldChg chg="modSp mod modNotesTx">
        <pc:chgData name="Luiz Macedo" userId="7b3c29be-d15f-473b-8b79-40ce79eed9b8" providerId="ADAL" clId="{ADD9F53D-FF70-4A3F-891E-DA8B6CCFA1DE}" dt="2022-02-25T22:59:57.995" v="60" actId="20577"/>
        <pc:sldMkLst>
          <pc:docMk/>
          <pc:sldMk cId="3269770873" sldId="1931"/>
        </pc:sldMkLst>
        <pc:spChg chg="mod">
          <ac:chgData name="Luiz Macedo" userId="7b3c29be-d15f-473b-8b79-40ce79eed9b8" providerId="ADAL" clId="{ADD9F53D-FF70-4A3F-891E-DA8B6CCFA1DE}" dt="2022-02-25T22:59:41.043" v="42" actId="20577"/>
          <ac:spMkLst>
            <pc:docMk/>
            <pc:sldMk cId="3269770873" sldId="1931"/>
            <ac:spMk id="6" creationId="{ED89A3E7-751E-4A56-96C1-80167C1D7E1E}"/>
          </ac:spMkLst>
        </pc:spChg>
        <pc:spChg chg="mod">
          <ac:chgData name="Luiz Macedo" userId="7b3c29be-d15f-473b-8b79-40ce79eed9b8" providerId="ADAL" clId="{ADD9F53D-FF70-4A3F-891E-DA8B6CCFA1DE}" dt="2022-02-25T22:59:46.417" v="48" actId="20577"/>
          <ac:spMkLst>
            <pc:docMk/>
            <pc:sldMk cId="3269770873" sldId="1931"/>
            <ac:spMk id="7" creationId="{4B587ABB-FE90-4ECC-940F-32C94EBF6557}"/>
          </ac:spMkLst>
        </pc:spChg>
      </pc:sldChg>
      <pc:sldChg chg="modSp mod">
        <pc:chgData name="Luiz Macedo" userId="7b3c29be-d15f-473b-8b79-40ce79eed9b8" providerId="ADAL" clId="{ADD9F53D-FF70-4A3F-891E-DA8B6CCFA1DE}" dt="2022-03-01T22:55:26.916" v="93" actId="20577"/>
        <pc:sldMkLst>
          <pc:docMk/>
          <pc:sldMk cId="2690299215" sldId="1947"/>
        </pc:sldMkLst>
        <pc:spChg chg="mod">
          <ac:chgData name="Luiz Macedo" userId="7b3c29be-d15f-473b-8b79-40ce79eed9b8" providerId="ADAL" clId="{ADD9F53D-FF70-4A3F-891E-DA8B6CCFA1DE}" dt="2022-03-01T22:55:26.916" v="93" actId="20577"/>
          <ac:spMkLst>
            <pc:docMk/>
            <pc:sldMk cId="2690299215" sldId="1947"/>
            <ac:spMk id="17" creationId="{00000000-0000-0000-0000-000000000000}"/>
          </ac:spMkLst>
        </pc:spChg>
      </pc:sldChg>
      <pc:sldChg chg="modSp mod ord">
        <pc:chgData name="Luiz Macedo" userId="7b3c29be-d15f-473b-8b79-40ce79eed9b8" providerId="ADAL" clId="{ADD9F53D-FF70-4A3F-891E-DA8B6CCFA1DE}" dt="2022-03-10T23:09:17.762" v="255" actId="20577"/>
        <pc:sldMkLst>
          <pc:docMk/>
          <pc:sldMk cId="1024414060" sldId="1949"/>
        </pc:sldMkLst>
        <pc:spChg chg="mod">
          <ac:chgData name="Luiz Macedo" userId="7b3c29be-d15f-473b-8b79-40ce79eed9b8" providerId="ADAL" clId="{ADD9F53D-FF70-4A3F-891E-DA8B6CCFA1DE}" dt="2022-03-10T23:09:17.762" v="255" actId="20577"/>
          <ac:spMkLst>
            <pc:docMk/>
            <pc:sldMk cId="1024414060" sldId="1949"/>
            <ac:spMk id="4" creationId="{0CD8665D-5A50-4F07-9D33-48CCD3FD74C7}"/>
          </ac:spMkLst>
        </pc:spChg>
      </pc:sldChg>
      <pc:sldChg chg="ord">
        <pc:chgData name="Luiz Macedo" userId="7b3c29be-d15f-473b-8b79-40ce79eed9b8" providerId="ADAL" clId="{ADD9F53D-FF70-4A3F-891E-DA8B6CCFA1DE}" dt="2022-03-10T23:09:02.858" v="253"/>
        <pc:sldMkLst>
          <pc:docMk/>
          <pc:sldMk cId="2334485022" sldId="1950"/>
        </pc:sldMkLst>
      </pc:sldChg>
      <pc:sldChg chg="ord">
        <pc:chgData name="Luiz Macedo" userId="7b3c29be-d15f-473b-8b79-40ce79eed9b8" providerId="ADAL" clId="{ADD9F53D-FF70-4A3F-891E-DA8B6CCFA1DE}" dt="2022-03-10T23:09:02.858" v="253"/>
        <pc:sldMkLst>
          <pc:docMk/>
          <pc:sldMk cId="59849674" sldId="1951"/>
        </pc:sldMkLst>
      </pc:sldChg>
      <pc:sldChg chg="ord">
        <pc:chgData name="Luiz Macedo" userId="7b3c29be-d15f-473b-8b79-40ce79eed9b8" providerId="ADAL" clId="{ADD9F53D-FF70-4A3F-891E-DA8B6CCFA1DE}" dt="2022-03-10T23:09:02.858" v="253"/>
        <pc:sldMkLst>
          <pc:docMk/>
          <pc:sldMk cId="3981396567" sldId="1952"/>
        </pc:sldMkLst>
      </pc:sldChg>
      <pc:sldChg chg="modSp mod">
        <pc:chgData name="Luiz Macedo" userId="7b3c29be-d15f-473b-8b79-40ce79eed9b8" providerId="ADAL" clId="{ADD9F53D-FF70-4A3F-891E-DA8B6CCFA1DE}" dt="2022-03-01T23:04:49.301" v="101" actId="20577"/>
        <pc:sldMkLst>
          <pc:docMk/>
          <pc:sldMk cId="3060697331" sldId="1953"/>
        </pc:sldMkLst>
        <pc:spChg chg="mod">
          <ac:chgData name="Luiz Macedo" userId="7b3c29be-d15f-473b-8b79-40ce79eed9b8" providerId="ADAL" clId="{ADD9F53D-FF70-4A3F-891E-DA8B6CCFA1DE}" dt="2022-03-01T23:04:49.301" v="101" actId="20577"/>
          <ac:spMkLst>
            <pc:docMk/>
            <pc:sldMk cId="3060697331" sldId="1953"/>
            <ac:spMk id="4" creationId="{0CD8665D-5A50-4F07-9D33-48CCD3FD74C7}"/>
          </ac:spMkLst>
        </pc:spChg>
      </pc:sldChg>
      <pc:sldChg chg="addSp delSp modSp mod">
        <pc:chgData name="Luiz Macedo" userId="7b3c29be-d15f-473b-8b79-40ce79eed9b8" providerId="ADAL" clId="{ADD9F53D-FF70-4A3F-891E-DA8B6CCFA1DE}" dt="2022-03-10T22:37:17.973" v="205" actId="1076"/>
        <pc:sldMkLst>
          <pc:docMk/>
          <pc:sldMk cId="1663750524" sldId="1954"/>
        </pc:sldMkLst>
        <pc:spChg chg="add mod">
          <ac:chgData name="Luiz Macedo" userId="7b3c29be-d15f-473b-8b79-40ce79eed9b8" providerId="ADAL" clId="{ADD9F53D-FF70-4A3F-891E-DA8B6CCFA1DE}" dt="2022-03-10T22:36:50.484" v="200" actId="20577"/>
          <ac:spMkLst>
            <pc:docMk/>
            <pc:sldMk cId="1663750524" sldId="1954"/>
            <ac:spMk id="4" creationId="{97700285-C5D4-48FE-A50A-5BBB25DAE507}"/>
          </ac:spMkLst>
        </pc:spChg>
        <pc:spChg chg="mod">
          <ac:chgData name="Luiz Macedo" userId="7b3c29be-d15f-473b-8b79-40ce79eed9b8" providerId="ADAL" clId="{ADD9F53D-FF70-4A3F-891E-DA8B6CCFA1DE}" dt="2022-03-10T22:33:51.745" v="190"/>
          <ac:spMkLst>
            <pc:docMk/>
            <pc:sldMk cId="1663750524" sldId="1954"/>
            <ac:spMk id="8" creationId="{9F2DDDB0-CA64-4FA3-BBA0-391321E3EE35}"/>
          </ac:spMkLst>
        </pc:spChg>
        <pc:spChg chg="mod">
          <ac:chgData name="Luiz Macedo" userId="7b3c29be-d15f-473b-8b79-40ce79eed9b8" providerId="ADAL" clId="{ADD9F53D-FF70-4A3F-891E-DA8B6CCFA1DE}" dt="2022-03-10T22:34:04.611" v="191"/>
          <ac:spMkLst>
            <pc:docMk/>
            <pc:sldMk cId="1663750524" sldId="1954"/>
            <ac:spMk id="12" creationId="{FEB08A74-440E-448B-85AD-5BE643AAF941}"/>
          </ac:spMkLst>
        </pc:spChg>
        <pc:spChg chg="mod">
          <ac:chgData name="Luiz Macedo" userId="7b3c29be-d15f-473b-8b79-40ce79eed9b8" providerId="ADAL" clId="{ADD9F53D-FF70-4A3F-891E-DA8B6CCFA1DE}" dt="2022-03-10T22:34:23.357" v="192"/>
          <ac:spMkLst>
            <pc:docMk/>
            <pc:sldMk cId="1663750524" sldId="1954"/>
            <ac:spMk id="15" creationId="{B6FA7B1A-5D29-4DED-99C1-5BEE995BDAB6}"/>
          </ac:spMkLst>
        </pc:spChg>
        <pc:spChg chg="mod">
          <ac:chgData name="Luiz Macedo" userId="7b3c29be-d15f-473b-8b79-40ce79eed9b8" providerId="ADAL" clId="{ADD9F53D-FF70-4A3F-891E-DA8B6CCFA1DE}" dt="2022-03-10T22:34:33.878" v="193"/>
          <ac:spMkLst>
            <pc:docMk/>
            <pc:sldMk cId="1663750524" sldId="1954"/>
            <ac:spMk id="24" creationId="{51D9360F-5C84-4421-B5F5-986F5884ACCE}"/>
          </ac:spMkLst>
        </pc:spChg>
        <pc:spChg chg="del mod">
          <ac:chgData name="Luiz Macedo" userId="7b3c29be-d15f-473b-8b79-40ce79eed9b8" providerId="ADAL" clId="{ADD9F53D-FF70-4A3F-891E-DA8B6CCFA1DE}" dt="2022-03-10T22:06:29.149" v="185" actId="478"/>
          <ac:spMkLst>
            <pc:docMk/>
            <pc:sldMk cId="1663750524" sldId="1954"/>
            <ac:spMk id="32" creationId="{31E90334-DDC9-48A4-A42A-AF0FD6D7B52C}"/>
          </ac:spMkLst>
        </pc:spChg>
        <pc:spChg chg="mod">
          <ac:chgData name="Luiz Macedo" userId="7b3c29be-d15f-473b-8b79-40ce79eed9b8" providerId="ADAL" clId="{ADD9F53D-FF70-4A3F-891E-DA8B6CCFA1DE}" dt="2022-03-10T22:34:59.102" v="195" actId="1076"/>
          <ac:spMkLst>
            <pc:docMk/>
            <pc:sldMk cId="1663750524" sldId="1954"/>
            <ac:spMk id="58" creationId="{F6D8E6AE-732E-411B-9C83-4D1C2A0A6F09}"/>
          </ac:spMkLst>
        </pc:spChg>
        <pc:spChg chg="mod">
          <ac:chgData name="Luiz Macedo" userId="7b3c29be-d15f-473b-8b79-40ce79eed9b8" providerId="ADAL" clId="{ADD9F53D-FF70-4A3F-891E-DA8B6CCFA1DE}" dt="2022-03-10T22:34:50.363" v="194"/>
          <ac:spMkLst>
            <pc:docMk/>
            <pc:sldMk cId="1663750524" sldId="1954"/>
            <ac:spMk id="60" creationId="{C87D1C38-7742-4147-BF25-A6D25ADCBAD0}"/>
          </ac:spMkLst>
        </pc:spChg>
        <pc:picChg chg="add mod">
          <ac:chgData name="Luiz Macedo" userId="7b3c29be-d15f-473b-8b79-40ce79eed9b8" providerId="ADAL" clId="{ADD9F53D-FF70-4A3F-891E-DA8B6CCFA1DE}" dt="2022-03-10T22:37:17.973" v="205" actId="1076"/>
          <ac:picMkLst>
            <pc:docMk/>
            <pc:sldMk cId="1663750524" sldId="1954"/>
            <ac:picMk id="5" creationId="{90C2993B-A120-4FB1-9DB3-F383833CDE3D}"/>
          </ac:picMkLst>
        </pc:picChg>
        <pc:picChg chg="del">
          <ac:chgData name="Luiz Macedo" userId="7b3c29be-d15f-473b-8b79-40ce79eed9b8" providerId="ADAL" clId="{ADD9F53D-FF70-4A3F-891E-DA8B6CCFA1DE}" dt="2022-03-10T22:06:29.149" v="185" actId="478"/>
          <ac:picMkLst>
            <pc:docMk/>
            <pc:sldMk cId="1663750524" sldId="1954"/>
            <ac:picMk id="44" creationId="{5CA5FCF1-5768-4E95-BD61-CFB7EA00C990}"/>
          </ac:picMkLst>
        </pc:picChg>
        <pc:picChg chg="mod">
          <ac:chgData name="Luiz Macedo" userId="7b3c29be-d15f-473b-8b79-40ce79eed9b8" providerId="ADAL" clId="{ADD9F53D-FF70-4A3F-891E-DA8B6CCFA1DE}" dt="2022-03-10T22:34:59.102" v="195" actId="1076"/>
          <ac:picMkLst>
            <pc:docMk/>
            <pc:sldMk cId="1663750524" sldId="1954"/>
            <ac:picMk id="50" creationId="{20C042A6-9FA6-4B8F-B3EC-FE5BDDFE0355}"/>
          </ac:picMkLst>
        </pc:picChg>
        <pc:cxnChg chg="add mod">
          <ac:chgData name="Luiz Macedo" userId="7b3c29be-d15f-473b-8b79-40ce79eed9b8" providerId="ADAL" clId="{ADD9F53D-FF70-4A3F-891E-DA8B6CCFA1DE}" dt="2022-03-10T22:35:10.668" v="197" actId="1076"/>
          <ac:cxnSpMkLst>
            <pc:docMk/>
            <pc:sldMk cId="1663750524" sldId="1954"/>
            <ac:cxnSpMk id="3" creationId="{CE1CB092-C21D-4EF2-B3B8-0D4713312B80}"/>
          </ac:cxnSpMkLst>
        </pc:cxnChg>
        <pc:cxnChg chg="del">
          <ac:chgData name="Luiz Macedo" userId="7b3c29be-d15f-473b-8b79-40ce79eed9b8" providerId="ADAL" clId="{ADD9F53D-FF70-4A3F-891E-DA8B6CCFA1DE}" dt="2022-03-10T22:06:31.467" v="186" actId="478"/>
          <ac:cxnSpMkLst>
            <pc:docMk/>
            <pc:sldMk cId="1663750524" sldId="1954"/>
            <ac:cxnSpMk id="48" creationId="{50D19EC6-1E46-4078-898E-472CF777F850}"/>
          </ac:cxnSpMkLst>
        </pc:cxnChg>
      </pc:sldChg>
      <pc:sldChg chg="ord">
        <pc:chgData name="Luiz Macedo" userId="7b3c29be-d15f-473b-8b79-40ce79eed9b8" providerId="ADAL" clId="{ADD9F53D-FF70-4A3F-891E-DA8B6CCFA1DE}" dt="2022-03-10T23:09:02.858" v="253"/>
        <pc:sldMkLst>
          <pc:docMk/>
          <pc:sldMk cId="3465062807" sldId="1955"/>
        </pc:sldMkLst>
      </pc:sldChg>
      <pc:sldChg chg="modNotesTx">
        <pc:chgData name="Luiz Macedo" userId="7b3c29be-d15f-473b-8b79-40ce79eed9b8" providerId="ADAL" clId="{ADD9F53D-FF70-4A3F-891E-DA8B6CCFA1DE}" dt="2022-03-10T23:29:55.593" v="305" actId="313"/>
        <pc:sldMkLst>
          <pc:docMk/>
          <pc:sldMk cId="860505324" sldId="1957"/>
        </pc:sldMkLst>
      </pc:sldChg>
      <pc:sldChg chg="ord">
        <pc:chgData name="Luiz Macedo" userId="7b3c29be-d15f-473b-8b79-40ce79eed9b8" providerId="ADAL" clId="{ADD9F53D-FF70-4A3F-891E-DA8B6CCFA1DE}" dt="2022-03-10T23:19:09.206" v="283"/>
        <pc:sldMkLst>
          <pc:docMk/>
          <pc:sldMk cId="1826022198" sldId="1959"/>
        </pc:sldMkLst>
      </pc:sldChg>
      <pc:sldChg chg="modSp mod">
        <pc:chgData name="Luiz Macedo" userId="7b3c29be-d15f-473b-8b79-40ce79eed9b8" providerId="ADAL" clId="{ADD9F53D-FF70-4A3F-891E-DA8B6CCFA1DE}" dt="2022-03-01T22:55:30.383" v="95" actId="20577"/>
        <pc:sldMkLst>
          <pc:docMk/>
          <pc:sldMk cId="1921655462" sldId="1960"/>
        </pc:sldMkLst>
        <pc:spChg chg="mod">
          <ac:chgData name="Luiz Macedo" userId="7b3c29be-d15f-473b-8b79-40ce79eed9b8" providerId="ADAL" clId="{ADD9F53D-FF70-4A3F-891E-DA8B6CCFA1DE}" dt="2022-03-01T22:55:30.383" v="95" actId="20577"/>
          <ac:spMkLst>
            <pc:docMk/>
            <pc:sldMk cId="1921655462" sldId="1960"/>
            <ac:spMk id="17" creationId="{00000000-0000-0000-0000-000000000000}"/>
          </ac:spMkLst>
        </pc:spChg>
      </pc:sldChg>
      <pc:sldChg chg="ord">
        <pc:chgData name="Luiz Macedo" userId="7b3c29be-d15f-473b-8b79-40ce79eed9b8" providerId="ADAL" clId="{ADD9F53D-FF70-4A3F-891E-DA8B6CCFA1DE}" dt="2022-03-10T23:09:02.858" v="253"/>
        <pc:sldMkLst>
          <pc:docMk/>
          <pc:sldMk cId="171335779" sldId="1961"/>
        </pc:sldMkLst>
      </pc:sldChg>
      <pc:sldChg chg="ord">
        <pc:chgData name="Luiz Macedo" userId="7b3c29be-d15f-473b-8b79-40ce79eed9b8" providerId="ADAL" clId="{ADD9F53D-FF70-4A3F-891E-DA8B6CCFA1DE}" dt="2022-03-10T23:09:02.858" v="253"/>
        <pc:sldMkLst>
          <pc:docMk/>
          <pc:sldMk cId="1152369062" sldId="1962"/>
        </pc:sldMkLst>
      </pc:sldChg>
      <pc:sldChg chg="modSp del mod">
        <pc:chgData name="Luiz Macedo" userId="7b3c29be-d15f-473b-8b79-40ce79eed9b8" providerId="ADAL" clId="{ADD9F53D-FF70-4A3F-891E-DA8B6CCFA1DE}" dt="2022-03-10T23:27:49.907" v="289" actId="47"/>
        <pc:sldMkLst>
          <pc:docMk/>
          <pc:sldMk cId="1065413711" sldId="1963"/>
        </pc:sldMkLst>
        <pc:spChg chg="mod">
          <ac:chgData name="Luiz Macedo" userId="7b3c29be-d15f-473b-8b79-40ce79eed9b8" providerId="ADAL" clId="{ADD9F53D-FF70-4A3F-891E-DA8B6CCFA1DE}" dt="2022-03-01T23:05:07.209" v="106"/>
          <ac:spMkLst>
            <pc:docMk/>
            <pc:sldMk cId="1065413711" sldId="1963"/>
            <ac:spMk id="4" creationId="{0CD8665D-5A50-4F07-9D33-48CCD3FD74C7}"/>
          </ac:spMkLst>
        </pc:spChg>
      </pc:sldChg>
      <pc:sldChg chg="add del">
        <pc:chgData name="Luiz Macedo" userId="7b3c29be-d15f-473b-8b79-40ce79eed9b8" providerId="ADAL" clId="{ADD9F53D-FF70-4A3F-891E-DA8B6CCFA1DE}" dt="2022-03-10T23:28:33.563" v="296" actId="47"/>
        <pc:sldMkLst>
          <pc:docMk/>
          <pc:sldMk cId="2241694979" sldId="1964"/>
        </pc:sldMkLst>
      </pc:sldChg>
      <pc:sldChg chg="modSp del mod">
        <pc:chgData name="Luiz Macedo" userId="7b3c29be-d15f-473b-8b79-40ce79eed9b8" providerId="ADAL" clId="{ADD9F53D-FF70-4A3F-891E-DA8B6CCFA1DE}" dt="2022-03-10T22:07:38.103" v="189" actId="2696"/>
        <pc:sldMkLst>
          <pc:docMk/>
          <pc:sldMk cId="3882870086" sldId="1964"/>
        </pc:sldMkLst>
        <pc:spChg chg="mod">
          <ac:chgData name="Luiz Macedo" userId="7b3c29be-d15f-473b-8b79-40ce79eed9b8" providerId="ADAL" clId="{ADD9F53D-FF70-4A3F-891E-DA8B6CCFA1DE}" dt="2022-03-01T23:05:11.305" v="107"/>
          <ac:spMkLst>
            <pc:docMk/>
            <pc:sldMk cId="3882870086" sldId="1964"/>
            <ac:spMk id="4" creationId="{00000000-0000-0000-0000-000000000000}"/>
          </ac:spMkLst>
        </pc:spChg>
      </pc:sldChg>
      <pc:sldChg chg="modSp add del mod">
        <pc:chgData name="Luiz Macedo" userId="7b3c29be-d15f-473b-8b79-40ce79eed9b8" providerId="ADAL" clId="{ADD9F53D-FF70-4A3F-891E-DA8B6CCFA1DE}" dt="2022-03-10T23:09:27.894" v="256" actId="2696"/>
        <pc:sldMkLst>
          <pc:docMk/>
          <pc:sldMk cId="174651653" sldId="1965"/>
        </pc:sldMkLst>
        <pc:spChg chg="mod">
          <ac:chgData name="Luiz Macedo" userId="7b3c29be-d15f-473b-8b79-40ce79eed9b8" providerId="ADAL" clId="{ADD9F53D-FF70-4A3F-891E-DA8B6CCFA1DE}" dt="2022-03-10T22:39:59.585" v="215"/>
          <ac:spMkLst>
            <pc:docMk/>
            <pc:sldMk cId="174651653" sldId="1965"/>
            <ac:spMk id="4" creationId="{00000000-0000-0000-0000-000000000000}"/>
          </ac:spMkLst>
        </pc:spChg>
      </pc:sldChg>
      <pc:sldChg chg="del">
        <pc:chgData name="Luiz Macedo" userId="7b3c29be-d15f-473b-8b79-40ce79eed9b8" providerId="ADAL" clId="{ADD9F53D-FF70-4A3F-891E-DA8B6CCFA1DE}" dt="2022-03-10T22:07:38.103" v="189" actId="2696"/>
        <pc:sldMkLst>
          <pc:docMk/>
          <pc:sldMk cId="3946537586" sldId="1965"/>
        </pc:sldMkLst>
      </pc:sldChg>
      <pc:sldChg chg="del">
        <pc:chgData name="Luiz Macedo" userId="7b3c29be-d15f-473b-8b79-40ce79eed9b8" providerId="ADAL" clId="{ADD9F53D-FF70-4A3F-891E-DA8B6CCFA1DE}" dt="2022-03-10T22:07:38.103" v="189" actId="2696"/>
        <pc:sldMkLst>
          <pc:docMk/>
          <pc:sldMk cId="46266726" sldId="1966"/>
        </pc:sldMkLst>
      </pc:sldChg>
      <pc:sldChg chg="addSp delSp modSp add mod">
        <pc:chgData name="Luiz Macedo" userId="7b3c29be-d15f-473b-8b79-40ce79eed9b8" providerId="ADAL" clId="{ADD9F53D-FF70-4A3F-891E-DA8B6CCFA1DE}" dt="2022-03-10T23:09:56.750" v="260" actId="22"/>
        <pc:sldMkLst>
          <pc:docMk/>
          <pc:sldMk cId="2598320123" sldId="1966"/>
        </pc:sldMkLst>
        <pc:spChg chg="mod">
          <ac:chgData name="Luiz Macedo" userId="7b3c29be-d15f-473b-8b79-40ce79eed9b8" providerId="ADAL" clId="{ADD9F53D-FF70-4A3F-891E-DA8B6CCFA1DE}" dt="2022-03-10T22:40:12.048" v="218"/>
          <ac:spMkLst>
            <pc:docMk/>
            <pc:sldMk cId="2598320123" sldId="1966"/>
            <ac:spMk id="4" creationId="{00000000-0000-0000-0000-000000000000}"/>
          </ac:spMkLst>
        </pc:spChg>
        <pc:picChg chg="add">
          <ac:chgData name="Luiz Macedo" userId="7b3c29be-d15f-473b-8b79-40ce79eed9b8" providerId="ADAL" clId="{ADD9F53D-FF70-4A3F-891E-DA8B6CCFA1DE}" dt="2022-03-10T23:09:56.750" v="260" actId="22"/>
          <ac:picMkLst>
            <pc:docMk/>
            <pc:sldMk cId="2598320123" sldId="1966"/>
            <ac:picMk id="2" creationId="{5C63D217-3287-403F-B5EA-7AF5E08F9D28}"/>
          </ac:picMkLst>
        </pc:picChg>
        <pc:picChg chg="del">
          <ac:chgData name="Luiz Macedo" userId="7b3c29be-d15f-473b-8b79-40ce79eed9b8" providerId="ADAL" clId="{ADD9F53D-FF70-4A3F-891E-DA8B6CCFA1DE}" dt="2022-03-10T23:09:56.562" v="259" actId="478"/>
          <ac:picMkLst>
            <pc:docMk/>
            <pc:sldMk cId="2598320123" sldId="1966"/>
            <ac:picMk id="3" creationId="{39793AD2-B905-411F-B4AD-42ABE5548646}"/>
          </ac:picMkLst>
        </pc:picChg>
      </pc:sldChg>
      <pc:sldChg chg="addSp delSp modSp add mod">
        <pc:chgData name="Luiz Macedo" userId="7b3c29be-d15f-473b-8b79-40ce79eed9b8" providerId="ADAL" clId="{ADD9F53D-FF70-4A3F-891E-DA8B6CCFA1DE}" dt="2022-03-10T23:10:52.941" v="264" actId="22"/>
        <pc:sldMkLst>
          <pc:docMk/>
          <pc:sldMk cId="168632550" sldId="1967"/>
        </pc:sldMkLst>
        <pc:spChg chg="mod">
          <ac:chgData name="Luiz Macedo" userId="7b3c29be-d15f-473b-8b79-40ce79eed9b8" providerId="ADAL" clId="{ADD9F53D-FF70-4A3F-891E-DA8B6CCFA1DE}" dt="2022-03-10T22:40:25.640" v="221"/>
          <ac:spMkLst>
            <pc:docMk/>
            <pc:sldMk cId="168632550" sldId="1967"/>
            <ac:spMk id="4" creationId="{00000000-0000-0000-0000-000000000000}"/>
          </ac:spMkLst>
        </pc:spChg>
        <pc:picChg chg="add">
          <ac:chgData name="Luiz Macedo" userId="7b3c29be-d15f-473b-8b79-40ce79eed9b8" providerId="ADAL" clId="{ADD9F53D-FF70-4A3F-891E-DA8B6CCFA1DE}" dt="2022-03-10T23:10:52.941" v="264" actId="22"/>
          <ac:picMkLst>
            <pc:docMk/>
            <pc:sldMk cId="168632550" sldId="1967"/>
            <ac:picMk id="2" creationId="{1F6FB381-EE06-413F-8F3A-A46E0EFDEB04}"/>
          </ac:picMkLst>
        </pc:picChg>
        <pc:picChg chg="del">
          <ac:chgData name="Luiz Macedo" userId="7b3c29be-d15f-473b-8b79-40ce79eed9b8" providerId="ADAL" clId="{ADD9F53D-FF70-4A3F-891E-DA8B6CCFA1DE}" dt="2022-03-10T23:10:52.772" v="263" actId="478"/>
          <ac:picMkLst>
            <pc:docMk/>
            <pc:sldMk cId="168632550" sldId="1967"/>
            <ac:picMk id="3" creationId="{39793AD2-B905-411F-B4AD-42ABE5548646}"/>
          </ac:picMkLst>
        </pc:picChg>
      </pc:sldChg>
      <pc:sldChg chg="del">
        <pc:chgData name="Luiz Macedo" userId="7b3c29be-d15f-473b-8b79-40ce79eed9b8" providerId="ADAL" clId="{ADD9F53D-FF70-4A3F-891E-DA8B6CCFA1DE}" dt="2022-03-10T22:07:38.103" v="189" actId="2696"/>
        <pc:sldMkLst>
          <pc:docMk/>
          <pc:sldMk cId="3835512427" sldId="1967"/>
        </pc:sldMkLst>
      </pc:sldChg>
      <pc:sldChg chg="del">
        <pc:chgData name="Luiz Macedo" userId="7b3c29be-d15f-473b-8b79-40ce79eed9b8" providerId="ADAL" clId="{ADD9F53D-FF70-4A3F-891E-DA8B6CCFA1DE}" dt="2022-03-10T22:07:38.103" v="189" actId="2696"/>
        <pc:sldMkLst>
          <pc:docMk/>
          <pc:sldMk cId="2938927582" sldId="1968"/>
        </pc:sldMkLst>
      </pc:sldChg>
      <pc:sldChg chg="addSp delSp modSp add mod">
        <pc:chgData name="Luiz Macedo" userId="7b3c29be-d15f-473b-8b79-40ce79eed9b8" providerId="ADAL" clId="{ADD9F53D-FF70-4A3F-891E-DA8B6CCFA1DE}" dt="2022-03-10T23:10:08.459" v="262" actId="22"/>
        <pc:sldMkLst>
          <pc:docMk/>
          <pc:sldMk cId="3836086289" sldId="1968"/>
        </pc:sldMkLst>
        <pc:spChg chg="mod">
          <ac:chgData name="Luiz Macedo" userId="7b3c29be-d15f-473b-8b79-40ce79eed9b8" providerId="ADAL" clId="{ADD9F53D-FF70-4A3F-891E-DA8B6CCFA1DE}" dt="2022-03-10T22:40:44.837" v="224"/>
          <ac:spMkLst>
            <pc:docMk/>
            <pc:sldMk cId="3836086289" sldId="1968"/>
            <ac:spMk id="4" creationId="{00000000-0000-0000-0000-000000000000}"/>
          </ac:spMkLst>
        </pc:spChg>
        <pc:picChg chg="add">
          <ac:chgData name="Luiz Macedo" userId="7b3c29be-d15f-473b-8b79-40ce79eed9b8" providerId="ADAL" clId="{ADD9F53D-FF70-4A3F-891E-DA8B6CCFA1DE}" dt="2022-03-10T23:10:08.459" v="262" actId="22"/>
          <ac:picMkLst>
            <pc:docMk/>
            <pc:sldMk cId="3836086289" sldId="1968"/>
            <ac:picMk id="2" creationId="{4263B726-472C-4008-92A6-190C1C58CA70}"/>
          </ac:picMkLst>
        </pc:picChg>
        <pc:picChg chg="del">
          <ac:chgData name="Luiz Macedo" userId="7b3c29be-d15f-473b-8b79-40ce79eed9b8" providerId="ADAL" clId="{ADD9F53D-FF70-4A3F-891E-DA8B6CCFA1DE}" dt="2022-03-10T23:10:08.299" v="261" actId="478"/>
          <ac:picMkLst>
            <pc:docMk/>
            <pc:sldMk cId="3836086289" sldId="1968"/>
            <ac:picMk id="3" creationId="{39793AD2-B905-411F-B4AD-42ABE5548646}"/>
          </ac:picMkLst>
        </pc:picChg>
      </pc:sldChg>
      <pc:sldChg chg="del">
        <pc:chgData name="Luiz Macedo" userId="7b3c29be-d15f-473b-8b79-40ce79eed9b8" providerId="ADAL" clId="{ADD9F53D-FF70-4A3F-891E-DA8B6CCFA1DE}" dt="2022-03-10T22:07:38.103" v="189" actId="2696"/>
        <pc:sldMkLst>
          <pc:docMk/>
          <pc:sldMk cId="1488089946" sldId="1969"/>
        </pc:sldMkLst>
      </pc:sldChg>
      <pc:sldChg chg="addSp delSp modSp add mod">
        <pc:chgData name="Luiz Macedo" userId="7b3c29be-d15f-473b-8b79-40ce79eed9b8" providerId="ADAL" clId="{ADD9F53D-FF70-4A3F-891E-DA8B6CCFA1DE}" dt="2022-03-10T23:09:39.624" v="258" actId="22"/>
        <pc:sldMkLst>
          <pc:docMk/>
          <pc:sldMk cId="2869563584" sldId="1969"/>
        </pc:sldMkLst>
        <pc:spChg chg="mod">
          <ac:chgData name="Luiz Macedo" userId="7b3c29be-d15f-473b-8b79-40ce79eed9b8" providerId="ADAL" clId="{ADD9F53D-FF70-4A3F-891E-DA8B6CCFA1DE}" dt="2022-03-10T22:40:58.308" v="227"/>
          <ac:spMkLst>
            <pc:docMk/>
            <pc:sldMk cId="2869563584" sldId="1969"/>
            <ac:spMk id="4" creationId="{00000000-0000-0000-0000-000000000000}"/>
          </ac:spMkLst>
        </pc:spChg>
        <pc:picChg chg="add">
          <ac:chgData name="Luiz Macedo" userId="7b3c29be-d15f-473b-8b79-40ce79eed9b8" providerId="ADAL" clId="{ADD9F53D-FF70-4A3F-891E-DA8B6CCFA1DE}" dt="2022-03-10T23:09:39.624" v="258" actId="22"/>
          <ac:picMkLst>
            <pc:docMk/>
            <pc:sldMk cId="2869563584" sldId="1969"/>
            <ac:picMk id="2" creationId="{3EA2D7AB-D7CC-40E9-B10C-B45AA1267539}"/>
          </ac:picMkLst>
        </pc:picChg>
        <pc:picChg chg="del">
          <ac:chgData name="Luiz Macedo" userId="7b3c29be-d15f-473b-8b79-40ce79eed9b8" providerId="ADAL" clId="{ADD9F53D-FF70-4A3F-891E-DA8B6CCFA1DE}" dt="2022-03-10T23:09:39.442" v="257" actId="478"/>
          <ac:picMkLst>
            <pc:docMk/>
            <pc:sldMk cId="2869563584" sldId="1969"/>
            <ac:picMk id="3" creationId="{39793AD2-B905-411F-B4AD-42ABE5548646}"/>
          </ac:picMkLst>
        </pc:picChg>
      </pc:sldChg>
      <pc:sldChg chg="del">
        <pc:chgData name="Luiz Macedo" userId="7b3c29be-d15f-473b-8b79-40ce79eed9b8" providerId="ADAL" clId="{ADD9F53D-FF70-4A3F-891E-DA8B6CCFA1DE}" dt="2022-03-10T22:07:38.103" v="189" actId="2696"/>
        <pc:sldMkLst>
          <pc:docMk/>
          <pc:sldMk cId="3196307179" sldId="1970"/>
        </pc:sldMkLst>
      </pc:sldChg>
      <pc:sldChg chg="del">
        <pc:chgData name="Luiz Macedo" userId="7b3c29be-d15f-473b-8b79-40ce79eed9b8" providerId="ADAL" clId="{ADD9F53D-FF70-4A3F-891E-DA8B6CCFA1DE}" dt="2022-03-10T22:07:38.103" v="189" actId="2696"/>
        <pc:sldMkLst>
          <pc:docMk/>
          <pc:sldMk cId="2950951966" sldId="1971"/>
        </pc:sldMkLst>
      </pc:sldChg>
      <pc:sldChg chg="del">
        <pc:chgData name="Luiz Macedo" userId="7b3c29be-d15f-473b-8b79-40ce79eed9b8" providerId="ADAL" clId="{ADD9F53D-FF70-4A3F-891E-DA8B6CCFA1DE}" dt="2022-03-10T22:07:38.103" v="189" actId="2696"/>
        <pc:sldMkLst>
          <pc:docMk/>
          <pc:sldMk cId="3526592946" sldId="1972"/>
        </pc:sldMkLst>
      </pc:sldChg>
      <pc:sldMasterChg chg="delSldLayout">
        <pc:chgData name="Luiz Macedo" userId="7b3c29be-d15f-473b-8b79-40ce79eed9b8" providerId="ADAL" clId="{ADD9F53D-FF70-4A3F-891E-DA8B6CCFA1DE}" dt="2022-03-10T22:07:38.103" v="189" actId="2696"/>
        <pc:sldMasterMkLst>
          <pc:docMk/>
          <pc:sldMasterMk cId="1881724970" sldId="2147484551"/>
        </pc:sldMasterMkLst>
        <pc:sldLayoutChg chg="del">
          <pc:chgData name="Luiz Macedo" userId="7b3c29be-d15f-473b-8b79-40ce79eed9b8" providerId="ADAL" clId="{ADD9F53D-FF70-4A3F-891E-DA8B6CCFA1DE}" dt="2022-03-10T22:07:38.103" v="189" actId="2696"/>
          <pc:sldLayoutMkLst>
            <pc:docMk/>
            <pc:sldMasterMk cId="1881724970" sldId="2147484551"/>
            <pc:sldLayoutMk cId="2401812804" sldId="2147484625"/>
          </pc:sldLayoutMkLst>
        </pc:sldLayoutChg>
      </pc:sldMasterChg>
    </pc:docChg>
  </pc:docChgLst>
  <pc:docChgLst>
    <pc:chgData name="Luiz Macedo" userId="7b3c29be-d15f-473b-8b79-40ce79eed9b8" providerId="ADAL" clId="{6012430E-18C6-4497-8D0D-42C74A04A357}"/>
    <pc:docChg chg="undo redo custSel addSld delSld modSld sldOrd">
      <pc:chgData name="Luiz Macedo" userId="7b3c29be-d15f-473b-8b79-40ce79eed9b8" providerId="ADAL" clId="{6012430E-18C6-4497-8D0D-42C74A04A357}" dt="2022-01-07T21:57:32.664" v="528"/>
      <pc:docMkLst>
        <pc:docMk/>
      </pc:docMkLst>
      <pc:sldChg chg="modSp add mod">
        <pc:chgData name="Luiz Macedo" userId="7b3c29be-d15f-473b-8b79-40ce79eed9b8" providerId="ADAL" clId="{6012430E-18C6-4497-8D0D-42C74A04A357}" dt="2022-01-07T21:53:22.261" v="456"/>
        <pc:sldMkLst>
          <pc:docMk/>
          <pc:sldMk cId="1062378438" sldId="269"/>
        </pc:sldMkLst>
        <pc:spChg chg="mod">
          <ac:chgData name="Luiz Macedo" userId="7b3c29be-d15f-473b-8b79-40ce79eed9b8" providerId="ADAL" clId="{6012430E-18C6-4497-8D0D-42C74A04A357}" dt="2022-01-07T21:53:22.261" v="456"/>
          <ac:spMkLst>
            <pc:docMk/>
            <pc:sldMk cId="1062378438" sldId="269"/>
            <ac:spMk id="2" creationId="{BD4E48C5-BFF6-4773-868E-BCA356B3A86F}"/>
          </ac:spMkLst>
        </pc:spChg>
      </pc:sldChg>
      <pc:sldChg chg="modSp add mod">
        <pc:chgData name="Luiz Macedo" userId="7b3c29be-d15f-473b-8b79-40ce79eed9b8" providerId="ADAL" clId="{6012430E-18C6-4497-8D0D-42C74A04A357}" dt="2022-01-07T21:53:28.701" v="457"/>
        <pc:sldMkLst>
          <pc:docMk/>
          <pc:sldMk cId="1525562275" sldId="270"/>
        </pc:sldMkLst>
        <pc:spChg chg="mod">
          <ac:chgData name="Luiz Macedo" userId="7b3c29be-d15f-473b-8b79-40ce79eed9b8" providerId="ADAL" clId="{6012430E-18C6-4497-8D0D-42C74A04A357}" dt="2022-01-07T21:53:28.701" v="457"/>
          <ac:spMkLst>
            <pc:docMk/>
            <pc:sldMk cId="1525562275" sldId="270"/>
            <ac:spMk id="2" creationId="{46AEED6B-A4BB-4B5D-9688-FABB964B7D82}"/>
          </ac:spMkLst>
        </pc:spChg>
      </pc:sldChg>
      <pc:sldChg chg="modSp add mod">
        <pc:chgData name="Luiz Macedo" userId="7b3c29be-d15f-473b-8b79-40ce79eed9b8" providerId="ADAL" clId="{6012430E-18C6-4497-8D0D-42C74A04A357}" dt="2022-01-07T21:53:47.444" v="472"/>
        <pc:sldMkLst>
          <pc:docMk/>
          <pc:sldMk cId="2604488682" sldId="281"/>
        </pc:sldMkLst>
        <pc:spChg chg="mod">
          <ac:chgData name="Luiz Macedo" userId="7b3c29be-d15f-473b-8b79-40ce79eed9b8" providerId="ADAL" clId="{6012430E-18C6-4497-8D0D-42C74A04A357}" dt="2022-01-07T21:53:47.444" v="472"/>
          <ac:spMkLst>
            <pc:docMk/>
            <pc:sldMk cId="2604488682" sldId="281"/>
            <ac:spMk id="7" creationId="{233F99A7-B017-4C7D-9CDC-CED627CEEC04}"/>
          </ac:spMkLst>
        </pc:spChg>
      </pc:sldChg>
      <pc:sldChg chg="modSp add mod">
        <pc:chgData name="Luiz Macedo" userId="7b3c29be-d15f-473b-8b79-40ce79eed9b8" providerId="ADAL" clId="{6012430E-18C6-4497-8D0D-42C74A04A357}" dt="2022-01-07T21:53:13.921" v="455"/>
        <pc:sldMkLst>
          <pc:docMk/>
          <pc:sldMk cId="2627983565" sldId="282"/>
        </pc:sldMkLst>
        <pc:spChg chg="mod">
          <ac:chgData name="Luiz Macedo" userId="7b3c29be-d15f-473b-8b79-40ce79eed9b8" providerId="ADAL" clId="{6012430E-18C6-4497-8D0D-42C74A04A357}" dt="2022-01-07T21:53:13.921" v="455"/>
          <ac:spMkLst>
            <pc:docMk/>
            <pc:sldMk cId="2627983565" sldId="282"/>
            <ac:spMk id="2" creationId="{7AF8F6A3-7468-4B07-9B89-7F4CFF65B794}"/>
          </ac:spMkLst>
        </pc:spChg>
      </pc:sldChg>
      <pc:sldChg chg="modSp add mod">
        <pc:chgData name="Luiz Macedo" userId="7b3c29be-d15f-473b-8b79-40ce79eed9b8" providerId="ADAL" clId="{6012430E-18C6-4497-8D0D-42C74A04A357}" dt="2022-01-07T21:53:41.131" v="471" actId="1035"/>
        <pc:sldMkLst>
          <pc:docMk/>
          <pc:sldMk cId="1605244184" sldId="1495"/>
        </pc:sldMkLst>
        <pc:spChg chg="mod">
          <ac:chgData name="Luiz Macedo" userId="7b3c29be-d15f-473b-8b79-40ce79eed9b8" providerId="ADAL" clId="{6012430E-18C6-4497-8D0D-42C74A04A357}" dt="2022-01-07T21:53:36.098" v="458"/>
          <ac:spMkLst>
            <pc:docMk/>
            <pc:sldMk cId="1605244184" sldId="1495"/>
            <ac:spMk id="2" creationId="{DDD44CD0-04CA-47E4-83FB-ADD4927E3DA6}"/>
          </ac:spMkLst>
        </pc:spChg>
        <pc:spChg chg="mod">
          <ac:chgData name="Luiz Macedo" userId="7b3c29be-d15f-473b-8b79-40ce79eed9b8" providerId="ADAL" clId="{6012430E-18C6-4497-8D0D-42C74A04A357}" dt="2022-01-07T21:53:41.131" v="471" actId="1035"/>
          <ac:spMkLst>
            <pc:docMk/>
            <pc:sldMk cId="1605244184" sldId="1495"/>
            <ac:spMk id="3" creationId="{41E4461E-087D-47BF-893D-EC653D1CBA14}"/>
          </ac:spMkLst>
        </pc:spChg>
        <pc:spChg chg="mod">
          <ac:chgData name="Luiz Macedo" userId="7b3c29be-d15f-473b-8b79-40ce79eed9b8" providerId="ADAL" clId="{6012430E-18C6-4497-8D0D-42C74A04A357}" dt="2022-01-07T21:53:41.131" v="471" actId="1035"/>
          <ac:spMkLst>
            <pc:docMk/>
            <pc:sldMk cId="1605244184" sldId="1495"/>
            <ac:spMk id="4" creationId="{C60F0A18-759E-40B7-B2C2-95512B674A3F}"/>
          </ac:spMkLst>
        </pc:spChg>
        <pc:graphicFrameChg chg="mod">
          <ac:chgData name="Luiz Macedo" userId="7b3c29be-d15f-473b-8b79-40ce79eed9b8" providerId="ADAL" clId="{6012430E-18C6-4497-8D0D-42C74A04A357}" dt="2022-01-07T21:53:41.131" v="471" actId="1035"/>
          <ac:graphicFrameMkLst>
            <pc:docMk/>
            <pc:sldMk cId="1605244184" sldId="1495"/>
            <ac:graphicFrameMk id="5" creationId="{6522225A-E34C-4DAE-8DEB-8A8D135B0F34}"/>
          </ac:graphicFrameMkLst>
        </pc:graphicFrameChg>
      </pc:sldChg>
      <pc:sldChg chg="modSp add mod">
        <pc:chgData name="Luiz Macedo" userId="7b3c29be-d15f-473b-8b79-40ce79eed9b8" providerId="ADAL" clId="{6012430E-18C6-4497-8D0D-42C74A04A357}" dt="2022-01-07T21:54:01.464" v="473"/>
        <pc:sldMkLst>
          <pc:docMk/>
          <pc:sldMk cId="2501132300" sldId="1496"/>
        </pc:sldMkLst>
        <pc:spChg chg="mod">
          <ac:chgData name="Luiz Macedo" userId="7b3c29be-d15f-473b-8b79-40ce79eed9b8" providerId="ADAL" clId="{6012430E-18C6-4497-8D0D-42C74A04A357}" dt="2022-01-07T21:54:01.464" v="473"/>
          <ac:spMkLst>
            <pc:docMk/>
            <pc:sldMk cId="2501132300" sldId="1496"/>
            <ac:spMk id="2" creationId="{8FF9437B-AC3D-4BB0-A38A-C1D6EC02E398}"/>
          </ac:spMkLst>
        </pc:spChg>
      </pc:sldChg>
      <pc:sldChg chg="modSp mod">
        <pc:chgData name="Luiz Macedo" userId="7b3c29be-d15f-473b-8b79-40ce79eed9b8" providerId="ADAL" clId="{6012430E-18C6-4497-8D0D-42C74A04A357}" dt="2022-01-07T21:17:23.626" v="5" actId="1076"/>
        <pc:sldMkLst>
          <pc:docMk/>
          <pc:sldMk cId="3635852913" sldId="1719"/>
        </pc:sldMkLst>
        <pc:spChg chg="mod">
          <ac:chgData name="Luiz Macedo" userId="7b3c29be-d15f-473b-8b79-40ce79eed9b8" providerId="ADAL" clId="{6012430E-18C6-4497-8D0D-42C74A04A357}" dt="2022-01-07T21:17:23.626" v="5" actId="1076"/>
          <ac:spMkLst>
            <pc:docMk/>
            <pc:sldMk cId="3635852913" sldId="1719"/>
            <ac:spMk id="4" creationId="{00000000-0000-0000-0000-000000000000}"/>
          </ac:spMkLst>
        </pc:spChg>
      </pc:sldChg>
      <pc:sldChg chg="modSp add mod">
        <pc:chgData name="Luiz Macedo" userId="7b3c29be-d15f-473b-8b79-40ce79eed9b8" providerId="ADAL" clId="{6012430E-18C6-4497-8D0D-42C74A04A357}" dt="2022-01-07T21:55:09.253" v="489"/>
        <pc:sldMkLst>
          <pc:docMk/>
          <pc:sldMk cId="467793065" sldId="1859"/>
        </pc:sldMkLst>
        <pc:spChg chg="mod">
          <ac:chgData name="Luiz Macedo" userId="7b3c29be-d15f-473b-8b79-40ce79eed9b8" providerId="ADAL" clId="{6012430E-18C6-4497-8D0D-42C74A04A357}" dt="2022-01-07T21:55:09.253" v="489"/>
          <ac:spMkLst>
            <pc:docMk/>
            <pc:sldMk cId="467793065" sldId="1859"/>
            <ac:spMk id="17" creationId="{00000000-0000-0000-0000-000000000000}"/>
          </ac:spMkLst>
        </pc:spChg>
      </pc:sldChg>
      <pc:sldChg chg="modSp add mod modNotesTx">
        <pc:chgData name="Luiz Macedo" userId="7b3c29be-d15f-473b-8b79-40ce79eed9b8" providerId="ADAL" clId="{6012430E-18C6-4497-8D0D-42C74A04A357}" dt="2022-01-07T21:40:49.149" v="251"/>
        <pc:sldMkLst>
          <pc:docMk/>
          <pc:sldMk cId="316322398" sldId="1870"/>
        </pc:sldMkLst>
        <pc:spChg chg="mod">
          <ac:chgData name="Luiz Macedo" userId="7b3c29be-d15f-473b-8b79-40ce79eed9b8" providerId="ADAL" clId="{6012430E-18C6-4497-8D0D-42C74A04A357}" dt="2022-01-07T21:40:49.149" v="251"/>
          <ac:spMkLst>
            <pc:docMk/>
            <pc:sldMk cId="316322398" sldId="1870"/>
            <ac:spMk id="2" creationId="{5F359BF1-DFBD-478C-ACA3-333D99FCFEDF}"/>
          </ac:spMkLst>
        </pc:spChg>
        <pc:spChg chg="mod">
          <ac:chgData name="Luiz Macedo" userId="7b3c29be-d15f-473b-8b79-40ce79eed9b8" providerId="ADAL" clId="{6012430E-18C6-4497-8D0D-42C74A04A357}" dt="2022-01-07T21:39:10.108" v="216" actId="1076"/>
          <ac:spMkLst>
            <pc:docMk/>
            <pc:sldMk cId="316322398" sldId="1870"/>
            <ac:spMk id="4" creationId="{5D010595-CC0F-4F28-A32C-2291A9AFD36C}"/>
          </ac:spMkLst>
        </pc:spChg>
        <pc:spChg chg="mod">
          <ac:chgData name="Luiz Macedo" userId="7b3c29be-d15f-473b-8b79-40ce79eed9b8" providerId="ADAL" clId="{6012430E-18C6-4497-8D0D-42C74A04A357}" dt="2022-01-07T21:39:19.852" v="218" actId="1076"/>
          <ac:spMkLst>
            <pc:docMk/>
            <pc:sldMk cId="316322398" sldId="1870"/>
            <ac:spMk id="6" creationId="{3002A13C-E37E-468F-A120-048FE42E8A1D}"/>
          </ac:spMkLst>
        </pc:spChg>
        <pc:spChg chg="mod">
          <ac:chgData name="Luiz Macedo" userId="7b3c29be-d15f-473b-8b79-40ce79eed9b8" providerId="ADAL" clId="{6012430E-18C6-4497-8D0D-42C74A04A357}" dt="2022-01-07T21:39:27.906" v="222" actId="1076"/>
          <ac:spMkLst>
            <pc:docMk/>
            <pc:sldMk cId="316322398" sldId="1870"/>
            <ac:spMk id="8" creationId="{5DC326C0-FA8B-4A35-B0AF-748BDD70EE0A}"/>
          </ac:spMkLst>
        </pc:spChg>
        <pc:spChg chg="mod">
          <ac:chgData name="Luiz Macedo" userId="7b3c29be-d15f-473b-8b79-40ce79eed9b8" providerId="ADAL" clId="{6012430E-18C6-4497-8D0D-42C74A04A357}" dt="2022-01-07T21:38:48.314" v="207" actId="1036"/>
          <ac:spMkLst>
            <pc:docMk/>
            <pc:sldMk cId="316322398" sldId="1870"/>
            <ac:spMk id="66" creationId="{3C5FA106-5E25-4554-AB17-915634ED251D}"/>
          </ac:spMkLst>
        </pc:spChg>
        <pc:spChg chg="mod">
          <ac:chgData name="Luiz Macedo" userId="7b3c29be-d15f-473b-8b79-40ce79eed9b8" providerId="ADAL" clId="{6012430E-18C6-4497-8D0D-42C74A04A357}" dt="2022-01-07T21:38:48.314" v="207" actId="1036"/>
          <ac:spMkLst>
            <pc:docMk/>
            <pc:sldMk cId="316322398" sldId="1870"/>
            <ac:spMk id="71" creationId="{D90624EA-5CBB-4AC1-A1C8-9BC7763B40F1}"/>
          </ac:spMkLst>
        </pc:spChg>
        <pc:spChg chg="mod">
          <ac:chgData name="Luiz Macedo" userId="7b3c29be-d15f-473b-8b79-40ce79eed9b8" providerId="ADAL" clId="{6012430E-18C6-4497-8D0D-42C74A04A357}" dt="2022-01-07T21:38:48.314" v="207" actId="1036"/>
          <ac:spMkLst>
            <pc:docMk/>
            <pc:sldMk cId="316322398" sldId="1870"/>
            <ac:spMk id="76" creationId="{0BC1C9E9-C916-4E5C-A06C-C3EFF19C97B9}"/>
          </ac:spMkLst>
        </pc:spChg>
        <pc:picChg chg="mod">
          <ac:chgData name="Luiz Macedo" userId="7b3c29be-d15f-473b-8b79-40ce79eed9b8" providerId="ADAL" clId="{6012430E-18C6-4497-8D0D-42C74A04A357}" dt="2022-01-07T21:39:02.907" v="215" actId="1076"/>
          <ac:picMkLst>
            <pc:docMk/>
            <pc:sldMk cId="316322398" sldId="1870"/>
            <ac:picMk id="3" creationId="{B988BCFB-0BC9-4521-9B9E-4897973BE417}"/>
          </ac:picMkLst>
        </pc:picChg>
        <pc:picChg chg="mod">
          <ac:chgData name="Luiz Macedo" userId="7b3c29be-d15f-473b-8b79-40ce79eed9b8" providerId="ADAL" clId="{6012430E-18C6-4497-8D0D-42C74A04A357}" dt="2022-01-07T21:38:48.314" v="207" actId="1036"/>
          <ac:picMkLst>
            <pc:docMk/>
            <pc:sldMk cId="316322398" sldId="1870"/>
            <ac:picMk id="5" creationId="{D8585FDC-2E61-4EE8-942F-1AB483404B7F}"/>
          </ac:picMkLst>
        </pc:picChg>
        <pc:picChg chg="mod">
          <ac:chgData name="Luiz Macedo" userId="7b3c29be-d15f-473b-8b79-40ce79eed9b8" providerId="ADAL" clId="{6012430E-18C6-4497-8D0D-42C74A04A357}" dt="2022-01-07T21:39:22.849" v="220" actId="14100"/>
          <ac:picMkLst>
            <pc:docMk/>
            <pc:sldMk cId="316322398" sldId="1870"/>
            <ac:picMk id="7" creationId="{1008C569-F053-4A6D-85BA-24A907CE4A93}"/>
          </ac:picMkLst>
        </pc:picChg>
        <pc:cxnChg chg="mod">
          <ac:chgData name="Luiz Macedo" userId="7b3c29be-d15f-473b-8b79-40ce79eed9b8" providerId="ADAL" clId="{6012430E-18C6-4497-8D0D-42C74A04A357}" dt="2022-01-07T21:38:48.314" v="207" actId="1036"/>
          <ac:cxnSpMkLst>
            <pc:docMk/>
            <pc:sldMk cId="316322398" sldId="1870"/>
            <ac:cxnSpMk id="67" creationId="{7A017D1E-285B-486F-A4F5-20F6F7DB78FD}"/>
          </ac:cxnSpMkLst>
        </pc:cxnChg>
        <pc:cxnChg chg="mod">
          <ac:chgData name="Luiz Macedo" userId="7b3c29be-d15f-473b-8b79-40ce79eed9b8" providerId="ADAL" clId="{6012430E-18C6-4497-8D0D-42C74A04A357}" dt="2022-01-07T21:38:48.314" v="207" actId="1036"/>
          <ac:cxnSpMkLst>
            <pc:docMk/>
            <pc:sldMk cId="316322398" sldId="1870"/>
            <ac:cxnSpMk id="72" creationId="{531D1E68-F3A6-4DB0-B336-E25B3753458C}"/>
          </ac:cxnSpMkLst>
        </pc:cxnChg>
      </pc:sldChg>
      <pc:sldChg chg="modSp mod">
        <pc:chgData name="Luiz Macedo" userId="7b3c29be-d15f-473b-8b79-40ce79eed9b8" providerId="ADAL" clId="{6012430E-18C6-4497-8D0D-42C74A04A357}" dt="2022-01-07T21:42:25.037" v="263"/>
        <pc:sldMkLst>
          <pc:docMk/>
          <pc:sldMk cId="2128001038" sldId="1877"/>
        </pc:sldMkLst>
        <pc:spChg chg="mod">
          <ac:chgData name="Luiz Macedo" userId="7b3c29be-d15f-473b-8b79-40ce79eed9b8" providerId="ADAL" clId="{6012430E-18C6-4497-8D0D-42C74A04A357}" dt="2022-01-07T21:42:25.037" v="263"/>
          <ac:spMkLst>
            <pc:docMk/>
            <pc:sldMk cId="2128001038" sldId="1877"/>
            <ac:spMk id="17" creationId="{00000000-0000-0000-0000-000000000000}"/>
          </ac:spMkLst>
        </pc:spChg>
      </pc:sldChg>
      <pc:sldChg chg="modSp mod">
        <pc:chgData name="Luiz Macedo" userId="7b3c29be-d15f-473b-8b79-40ce79eed9b8" providerId="ADAL" clId="{6012430E-18C6-4497-8D0D-42C74A04A357}" dt="2022-01-07T21:41:49.625" v="262"/>
        <pc:sldMkLst>
          <pc:docMk/>
          <pc:sldMk cId="2624785565" sldId="1878"/>
        </pc:sldMkLst>
        <pc:spChg chg="mod">
          <ac:chgData name="Luiz Macedo" userId="7b3c29be-d15f-473b-8b79-40ce79eed9b8" providerId="ADAL" clId="{6012430E-18C6-4497-8D0D-42C74A04A357}" dt="2022-01-07T21:41:49.625" v="262"/>
          <ac:spMkLst>
            <pc:docMk/>
            <pc:sldMk cId="2624785565" sldId="1878"/>
            <ac:spMk id="4" creationId="{00000000-0000-0000-0000-000000000000}"/>
          </ac:spMkLst>
        </pc:spChg>
      </pc:sldChg>
      <pc:sldChg chg="modSp add mod">
        <pc:chgData name="Luiz Macedo" userId="7b3c29be-d15f-473b-8b79-40ce79eed9b8" providerId="ADAL" clId="{6012430E-18C6-4497-8D0D-42C74A04A357}" dt="2022-01-07T21:51:33.532" v="423"/>
        <pc:sldMkLst>
          <pc:docMk/>
          <pc:sldMk cId="1587072904" sldId="1885"/>
        </pc:sldMkLst>
        <pc:spChg chg="mod">
          <ac:chgData name="Luiz Macedo" userId="7b3c29be-d15f-473b-8b79-40ce79eed9b8" providerId="ADAL" clId="{6012430E-18C6-4497-8D0D-42C74A04A357}" dt="2022-01-07T21:51:33.532" v="423"/>
          <ac:spMkLst>
            <pc:docMk/>
            <pc:sldMk cId="1587072904" sldId="1885"/>
            <ac:spMk id="4" creationId="{00000000-0000-0000-0000-000000000000}"/>
          </ac:spMkLst>
        </pc:spChg>
      </pc:sldChg>
      <pc:sldChg chg="modSp add mod">
        <pc:chgData name="Luiz Macedo" userId="7b3c29be-d15f-473b-8b79-40ce79eed9b8" providerId="ADAL" clId="{6012430E-18C6-4497-8D0D-42C74A04A357}" dt="2022-01-07T21:52:46.106" v="445"/>
        <pc:sldMkLst>
          <pc:docMk/>
          <pc:sldMk cId="1517193746" sldId="1898"/>
        </pc:sldMkLst>
        <pc:spChg chg="mod">
          <ac:chgData name="Luiz Macedo" userId="7b3c29be-d15f-473b-8b79-40ce79eed9b8" providerId="ADAL" clId="{6012430E-18C6-4497-8D0D-42C74A04A357}" dt="2022-01-07T21:52:46.106" v="445"/>
          <ac:spMkLst>
            <pc:docMk/>
            <pc:sldMk cId="1517193746" sldId="1898"/>
            <ac:spMk id="2" creationId="{FE9336D2-3D87-49E3-BFB0-955854AE6DF8}"/>
          </ac:spMkLst>
        </pc:spChg>
      </pc:sldChg>
      <pc:sldChg chg="modSp add mod">
        <pc:chgData name="Luiz Macedo" userId="7b3c29be-d15f-473b-8b79-40ce79eed9b8" providerId="ADAL" clId="{6012430E-18C6-4497-8D0D-42C74A04A357}" dt="2022-01-07T21:54:20.647" v="478" actId="6549"/>
        <pc:sldMkLst>
          <pc:docMk/>
          <pc:sldMk cId="2127942544" sldId="1900"/>
        </pc:sldMkLst>
        <pc:spChg chg="mod">
          <ac:chgData name="Luiz Macedo" userId="7b3c29be-d15f-473b-8b79-40ce79eed9b8" providerId="ADAL" clId="{6012430E-18C6-4497-8D0D-42C74A04A357}" dt="2022-01-07T21:54:20.647" v="478" actId="6549"/>
          <ac:spMkLst>
            <pc:docMk/>
            <pc:sldMk cId="2127942544" sldId="1900"/>
            <ac:spMk id="2" creationId="{3D4ACEE4-474E-4B40-811E-AD4DBD723AE2}"/>
          </ac:spMkLst>
        </pc:spChg>
      </pc:sldChg>
      <pc:sldChg chg="modSp add mod ord">
        <pc:chgData name="Luiz Macedo" userId="7b3c29be-d15f-473b-8b79-40ce79eed9b8" providerId="ADAL" clId="{6012430E-18C6-4497-8D0D-42C74A04A357}" dt="2022-01-07T21:52:34.289" v="444" actId="20577"/>
        <pc:sldMkLst>
          <pc:docMk/>
          <pc:sldMk cId="2896021063" sldId="1901"/>
        </pc:sldMkLst>
        <pc:spChg chg="mod">
          <ac:chgData name="Luiz Macedo" userId="7b3c29be-d15f-473b-8b79-40ce79eed9b8" providerId="ADAL" clId="{6012430E-18C6-4497-8D0D-42C74A04A357}" dt="2022-01-07T21:52:34.289" v="444" actId="20577"/>
          <ac:spMkLst>
            <pc:docMk/>
            <pc:sldMk cId="2896021063" sldId="1901"/>
            <ac:spMk id="2" creationId="{313381AD-4296-4B5B-A173-CAB1822F7A64}"/>
          </ac:spMkLst>
        </pc:spChg>
      </pc:sldChg>
      <pc:sldChg chg="add">
        <pc:chgData name="Luiz Macedo" userId="7b3c29be-d15f-473b-8b79-40ce79eed9b8" providerId="ADAL" clId="{6012430E-18C6-4497-8D0D-42C74A04A357}" dt="2022-01-07T21:49:38.039" v="390"/>
        <pc:sldMkLst>
          <pc:docMk/>
          <pc:sldMk cId="2855357619" sldId="1903"/>
        </pc:sldMkLst>
      </pc:sldChg>
      <pc:sldChg chg="add">
        <pc:chgData name="Luiz Macedo" userId="7b3c29be-d15f-473b-8b79-40ce79eed9b8" providerId="ADAL" clId="{6012430E-18C6-4497-8D0D-42C74A04A357}" dt="2022-01-07T21:54:48.876" v="479"/>
        <pc:sldMkLst>
          <pc:docMk/>
          <pc:sldMk cId="1905722822" sldId="1905"/>
        </pc:sldMkLst>
      </pc:sldChg>
      <pc:sldChg chg="modSp mod">
        <pc:chgData name="Luiz Macedo" userId="7b3c29be-d15f-473b-8b79-40ce79eed9b8" providerId="ADAL" clId="{6012430E-18C6-4497-8D0D-42C74A04A357}" dt="2022-01-07T21:45:25.520" v="301"/>
        <pc:sldMkLst>
          <pc:docMk/>
          <pc:sldMk cId="2093996267" sldId="1906"/>
        </pc:sldMkLst>
        <pc:spChg chg="mod">
          <ac:chgData name="Luiz Macedo" userId="7b3c29be-d15f-473b-8b79-40ce79eed9b8" providerId="ADAL" clId="{6012430E-18C6-4497-8D0D-42C74A04A357}" dt="2022-01-07T21:45:25.520" v="301"/>
          <ac:spMkLst>
            <pc:docMk/>
            <pc:sldMk cId="2093996267" sldId="1906"/>
            <ac:spMk id="4" creationId="{00000000-0000-0000-0000-000000000000}"/>
          </ac:spMkLst>
        </pc:spChg>
      </pc:sldChg>
      <pc:sldChg chg="modSp mod">
        <pc:chgData name="Luiz Macedo" userId="7b3c29be-d15f-473b-8b79-40ce79eed9b8" providerId="ADAL" clId="{6012430E-18C6-4497-8D0D-42C74A04A357}" dt="2022-01-07T21:45:39.059" v="315" actId="1035"/>
        <pc:sldMkLst>
          <pc:docMk/>
          <pc:sldMk cId="3097470371" sldId="1908"/>
        </pc:sldMkLst>
        <pc:spChg chg="mod">
          <ac:chgData name="Luiz Macedo" userId="7b3c29be-d15f-473b-8b79-40ce79eed9b8" providerId="ADAL" clId="{6012430E-18C6-4497-8D0D-42C74A04A357}" dt="2022-01-07T21:45:39.059" v="315" actId="1035"/>
          <ac:spMkLst>
            <pc:docMk/>
            <pc:sldMk cId="3097470371" sldId="1908"/>
            <ac:spMk id="8" creationId="{4A61B381-834C-4C6C-8ED3-D07BA7D2FD70}"/>
          </ac:spMkLst>
        </pc:spChg>
        <pc:spChg chg="mod">
          <ac:chgData name="Luiz Macedo" userId="7b3c29be-d15f-473b-8b79-40ce79eed9b8" providerId="ADAL" clId="{6012430E-18C6-4497-8D0D-42C74A04A357}" dt="2022-01-07T21:45:39.059" v="315" actId="1035"/>
          <ac:spMkLst>
            <pc:docMk/>
            <pc:sldMk cId="3097470371" sldId="1908"/>
            <ac:spMk id="9" creationId="{19DE7843-0E4A-485C-B2F4-D5EEF1C02277}"/>
          </ac:spMkLst>
        </pc:spChg>
        <pc:spChg chg="mod">
          <ac:chgData name="Luiz Macedo" userId="7b3c29be-d15f-473b-8b79-40ce79eed9b8" providerId="ADAL" clId="{6012430E-18C6-4497-8D0D-42C74A04A357}" dt="2022-01-07T21:45:39.059" v="315" actId="1035"/>
          <ac:spMkLst>
            <pc:docMk/>
            <pc:sldMk cId="3097470371" sldId="1908"/>
            <ac:spMk id="12" creationId="{D111B10F-CB52-4F03-BDC0-9DF7205E91A1}"/>
          </ac:spMkLst>
        </pc:spChg>
        <pc:spChg chg="mod">
          <ac:chgData name="Luiz Macedo" userId="7b3c29be-d15f-473b-8b79-40ce79eed9b8" providerId="ADAL" clId="{6012430E-18C6-4497-8D0D-42C74A04A357}" dt="2022-01-07T21:45:39.059" v="315" actId="1035"/>
          <ac:spMkLst>
            <pc:docMk/>
            <pc:sldMk cId="3097470371" sldId="1908"/>
            <ac:spMk id="15" creationId="{A544519E-4896-4FDD-A3CA-64A9C9B71327}"/>
          </ac:spMkLst>
        </pc:spChg>
        <pc:spChg chg="mod">
          <ac:chgData name="Luiz Macedo" userId="7b3c29be-d15f-473b-8b79-40ce79eed9b8" providerId="ADAL" clId="{6012430E-18C6-4497-8D0D-42C74A04A357}" dt="2022-01-07T21:45:35.098" v="302"/>
          <ac:spMkLst>
            <pc:docMk/>
            <pc:sldMk cId="3097470371" sldId="1908"/>
            <ac:spMk id="17" creationId="{00000000-0000-0000-0000-000000000000}"/>
          </ac:spMkLst>
        </pc:spChg>
        <pc:spChg chg="mod">
          <ac:chgData name="Luiz Macedo" userId="7b3c29be-d15f-473b-8b79-40ce79eed9b8" providerId="ADAL" clId="{6012430E-18C6-4497-8D0D-42C74A04A357}" dt="2022-01-07T21:45:39.059" v="315" actId="1035"/>
          <ac:spMkLst>
            <pc:docMk/>
            <pc:sldMk cId="3097470371" sldId="1908"/>
            <ac:spMk id="19" creationId="{AE2808B0-B8BA-4BFB-AEE2-DEE2B66E0482}"/>
          </ac:spMkLst>
        </pc:spChg>
        <pc:spChg chg="mod">
          <ac:chgData name="Luiz Macedo" userId="7b3c29be-d15f-473b-8b79-40ce79eed9b8" providerId="ADAL" clId="{6012430E-18C6-4497-8D0D-42C74A04A357}" dt="2022-01-07T21:45:39.059" v="315" actId="1035"/>
          <ac:spMkLst>
            <pc:docMk/>
            <pc:sldMk cId="3097470371" sldId="1908"/>
            <ac:spMk id="22" creationId="{CF83F063-D614-4DEF-938D-0B192E2D01A7}"/>
          </ac:spMkLst>
        </pc:spChg>
        <pc:spChg chg="mod">
          <ac:chgData name="Luiz Macedo" userId="7b3c29be-d15f-473b-8b79-40ce79eed9b8" providerId="ADAL" clId="{6012430E-18C6-4497-8D0D-42C74A04A357}" dt="2022-01-07T21:45:39.059" v="315" actId="1035"/>
          <ac:spMkLst>
            <pc:docMk/>
            <pc:sldMk cId="3097470371" sldId="1908"/>
            <ac:spMk id="35" creationId="{D7C0DA8C-F9EF-44CC-9F2F-63C7E3567D70}"/>
          </ac:spMkLst>
        </pc:spChg>
        <pc:spChg chg="mod">
          <ac:chgData name="Luiz Macedo" userId="7b3c29be-d15f-473b-8b79-40ce79eed9b8" providerId="ADAL" clId="{6012430E-18C6-4497-8D0D-42C74A04A357}" dt="2022-01-07T21:45:39.059" v="315" actId="1035"/>
          <ac:spMkLst>
            <pc:docMk/>
            <pc:sldMk cId="3097470371" sldId="1908"/>
            <ac:spMk id="36" creationId="{B278D3ED-A8F0-4095-862D-89E979420C57}"/>
          </ac:spMkLst>
        </pc:spChg>
        <pc:picChg chg="mod">
          <ac:chgData name="Luiz Macedo" userId="7b3c29be-d15f-473b-8b79-40ce79eed9b8" providerId="ADAL" clId="{6012430E-18C6-4497-8D0D-42C74A04A357}" dt="2022-01-07T21:45:39.059" v="315" actId="1035"/>
          <ac:picMkLst>
            <pc:docMk/>
            <pc:sldMk cId="3097470371" sldId="1908"/>
            <ac:picMk id="3" creationId="{3A4023C6-402E-4F52-B236-A6D1D3000D6F}"/>
          </ac:picMkLst>
        </pc:picChg>
      </pc:sldChg>
      <pc:sldChg chg="modSp mod">
        <pc:chgData name="Luiz Macedo" userId="7b3c29be-d15f-473b-8b79-40ce79eed9b8" providerId="ADAL" clId="{6012430E-18C6-4497-8D0D-42C74A04A357}" dt="2022-01-07T21:42:34.379" v="264"/>
        <pc:sldMkLst>
          <pc:docMk/>
          <pc:sldMk cId="1933311374" sldId="1909"/>
        </pc:sldMkLst>
        <pc:spChg chg="mod">
          <ac:chgData name="Luiz Macedo" userId="7b3c29be-d15f-473b-8b79-40ce79eed9b8" providerId="ADAL" clId="{6012430E-18C6-4497-8D0D-42C74A04A357}" dt="2022-01-07T21:42:34.379" v="264"/>
          <ac:spMkLst>
            <pc:docMk/>
            <pc:sldMk cId="1933311374" sldId="1909"/>
            <ac:spMk id="2" creationId="{38A2A7F1-04F2-4BA2-A175-CFA10C37119D}"/>
          </ac:spMkLst>
        </pc:spChg>
      </pc:sldChg>
      <pc:sldChg chg="modSp mod">
        <pc:chgData name="Luiz Macedo" userId="7b3c29be-d15f-473b-8b79-40ce79eed9b8" providerId="ADAL" clId="{6012430E-18C6-4497-8D0D-42C74A04A357}" dt="2022-01-07T21:42:42.813" v="265"/>
        <pc:sldMkLst>
          <pc:docMk/>
          <pc:sldMk cId="714624331" sldId="1910"/>
        </pc:sldMkLst>
        <pc:spChg chg="mod">
          <ac:chgData name="Luiz Macedo" userId="7b3c29be-d15f-473b-8b79-40ce79eed9b8" providerId="ADAL" clId="{6012430E-18C6-4497-8D0D-42C74A04A357}" dt="2022-01-07T21:42:42.813" v="265"/>
          <ac:spMkLst>
            <pc:docMk/>
            <pc:sldMk cId="714624331" sldId="1910"/>
            <ac:spMk id="2" creationId="{1F18179E-B348-404C-A711-E54AC067DE89}"/>
          </ac:spMkLst>
        </pc:spChg>
      </pc:sldChg>
      <pc:sldChg chg="modSp mod">
        <pc:chgData name="Luiz Macedo" userId="7b3c29be-d15f-473b-8b79-40ce79eed9b8" providerId="ADAL" clId="{6012430E-18C6-4497-8D0D-42C74A04A357}" dt="2022-01-07T21:42:51.002" v="266"/>
        <pc:sldMkLst>
          <pc:docMk/>
          <pc:sldMk cId="520336558" sldId="1911"/>
        </pc:sldMkLst>
        <pc:spChg chg="mod">
          <ac:chgData name="Luiz Macedo" userId="7b3c29be-d15f-473b-8b79-40ce79eed9b8" providerId="ADAL" clId="{6012430E-18C6-4497-8D0D-42C74A04A357}" dt="2022-01-07T21:42:51.002" v="266"/>
          <ac:spMkLst>
            <pc:docMk/>
            <pc:sldMk cId="520336558" sldId="1911"/>
            <ac:spMk id="2" creationId="{61B71222-0A44-4BEB-9F2A-755FB83D7AE6}"/>
          </ac:spMkLst>
        </pc:spChg>
      </pc:sldChg>
      <pc:sldChg chg="modSp mod">
        <pc:chgData name="Luiz Macedo" userId="7b3c29be-d15f-473b-8b79-40ce79eed9b8" providerId="ADAL" clId="{6012430E-18C6-4497-8D0D-42C74A04A357}" dt="2022-01-07T21:43:00.572" v="267"/>
        <pc:sldMkLst>
          <pc:docMk/>
          <pc:sldMk cId="1564636046" sldId="1912"/>
        </pc:sldMkLst>
        <pc:spChg chg="mod">
          <ac:chgData name="Luiz Macedo" userId="7b3c29be-d15f-473b-8b79-40ce79eed9b8" providerId="ADAL" clId="{6012430E-18C6-4497-8D0D-42C74A04A357}" dt="2022-01-07T21:43:00.572" v="267"/>
          <ac:spMkLst>
            <pc:docMk/>
            <pc:sldMk cId="1564636046" sldId="1912"/>
            <ac:spMk id="2" creationId="{740C476D-4611-4110-9775-8987320A0D0C}"/>
          </ac:spMkLst>
        </pc:spChg>
      </pc:sldChg>
      <pc:sldChg chg="modSp mod">
        <pc:chgData name="Luiz Macedo" userId="7b3c29be-d15f-473b-8b79-40ce79eed9b8" providerId="ADAL" clId="{6012430E-18C6-4497-8D0D-42C74A04A357}" dt="2022-01-07T21:43:17.154" v="278" actId="1036"/>
        <pc:sldMkLst>
          <pc:docMk/>
          <pc:sldMk cId="2655664660" sldId="1913"/>
        </pc:sldMkLst>
        <pc:spChg chg="mod">
          <ac:chgData name="Luiz Macedo" userId="7b3c29be-d15f-473b-8b79-40ce79eed9b8" providerId="ADAL" clId="{6012430E-18C6-4497-8D0D-42C74A04A357}" dt="2022-01-07T21:43:09.375" v="269" actId="6549"/>
          <ac:spMkLst>
            <pc:docMk/>
            <pc:sldMk cId="2655664660" sldId="1913"/>
            <ac:spMk id="2" creationId="{303C4FE0-C964-482C-BD93-02CFB14D7D0C}"/>
          </ac:spMkLst>
        </pc:spChg>
        <pc:spChg chg="mod">
          <ac:chgData name="Luiz Macedo" userId="7b3c29be-d15f-473b-8b79-40ce79eed9b8" providerId="ADAL" clId="{6012430E-18C6-4497-8D0D-42C74A04A357}" dt="2022-01-07T21:43:17.154" v="278" actId="1036"/>
          <ac:spMkLst>
            <pc:docMk/>
            <pc:sldMk cId="2655664660" sldId="1913"/>
            <ac:spMk id="5" creationId="{89B2940E-7402-4ED1-8990-A3BAA9B9A566}"/>
          </ac:spMkLst>
        </pc:spChg>
        <pc:spChg chg="mod">
          <ac:chgData name="Luiz Macedo" userId="7b3c29be-d15f-473b-8b79-40ce79eed9b8" providerId="ADAL" clId="{6012430E-18C6-4497-8D0D-42C74A04A357}" dt="2022-01-07T21:43:17.154" v="278" actId="1036"/>
          <ac:spMkLst>
            <pc:docMk/>
            <pc:sldMk cId="2655664660" sldId="1913"/>
            <ac:spMk id="39" creationId="{63395A22-550D-41E0-B2FC-47222A0F1ED6}"/>
          </ac:spMkLst>
        </pc:spChg>
        <pc:picChg chg="mod">
          <ac:chgData name="Luiz Macedo" userId="7b3c29be-d15f-473b-8b79-40ce79eed9b8" providerId="ADAL" clId="{6012430E-18C6-4497-8D0D-42C74A04A357}" dt="2022-01-07T21:43:17.154" v="278" actId="1036"/>
          <ac:picMkLst>
            <pc:docMk/>
            <pc:sldMk cId="2655664660" sldId="1913"/>
            <ac:picMk id="4" creationId="{14DB46D2-F218-4CC0-84E0-066EFF6A1CAB}"/>
          </ac:picMkLst>
        </pc:picChg>
      </pc:sldChg>
      <pc:sldChg chg="modSp mod">
        <pc:chgData name="Luiz Macedo" userId="7b3c29be-d15f-473b-8b79-40ce79eed9b8" providerId="ADAL" clId="{6012430E-18C6-4497-8D0D-42C74A04A357}" dt="2022-01-07T21:43:42.651" v="282"/>
        <pc:sldMkLst>
          <pc:docMk/>
          <pc:sldMk cId="3928665273" sldId="1914"/>
        </pc:sldMkLst>
        <pc:spChg chg="mod">
          <ac:chgData name="Luiz Macedo" userId="7b3c29be-d15f-473b-8b79-40ce79eed9b8" providerId="ADAL" clId="{6012430E-18C6-4497-8D0D-42C74A04A357}" dt="2022-01-07T21:43:42.651" v="282"/>
          <ac:spMkLst>
            <pc:docMk/>
            <pc:sldMk cId="3928665273" sldId="1914"/>
            <ac:spMk id="2" creationId="{1EAE6816-481D-4F60-B4C1-C7D41C045ABD}"/>
          </ac:spMkLst>
        </pc:spChg>
      </pc:sldChg>
      <pc:sldChg chg="modSp mod">
        <pc:chgData name="Luiz Macedo" userId="7b3c29be-d15f-473b-8b79-40ce79eed9b8" providerId="ADAL" clId="{6012430E-18C6-4497-8D0D-42C74A04A357}" dt="2022-01-07T21:43:26.353" v="279"/>
        <pc:sldMkLst>
          <pc:docMk/>
          <pc:sldMk cId="39607671" sldId="1915"/>
        </pc:sldMkLst>
        <pc:spChg chg="mod">
          <ac:chgData name="Luiz Macedo" userId="7b3c29be-d15f-473b-8b79-40ce79eed9b8" providerId="ADAL" clId="{6012430E-18C6-4497-8D0D-42C74A04A357}" dt="2022-01-07T21:43:26.353" v="279"/>
          <ac:spMkLst>
            <pc:docMk/>
            <pc:sldMk cId="39607671" sldId="1915"/>
            <ac:spMk id="2" creationId="{0FE68EA2-7497-4AB1-A96C-894DDB8377C4}"/>
          </ac:spMkLst>
        </pc:spChg>
      </pc:sldChg>
      <pc:sldChg chg="modSp mod">
        <pc:chgData name="Luiz Macedo" userId="7b3c29be-d15f-473b-8b79-40ce79eed9b8" providerId="ADAL" clId="{6012430E-18C6-4497-8D0D-42C74A04A357}" dt="2022-01-07T21:43:56.688" v="291" actId="1036"/>
        <pc:sldMkLst>
          <pc:docMk/>
          <pc:sldMk cId="718775267" sldId="1916"/>
        </pc:sldMkLst>
        <pc:spChg chg="mod">
          <ac:chgData name="Luiz Macedo" userId="7b3c29be-d15f-473b-8b79-40ce79eed9b8" providerId="ADAL" clId="{6012430E-18C6-4497-8D0D-42C74A04A357}" dt="2022-01-07T21:43:52.336" v="283"/>
          <ac:spMkLst>
            <pc:docMk/>
            <pc:sldMk cId="718775267" sldId="1916"/>
            <ac:spMk id="2" creationId="{46986866-32A4-47BE-8B7F-BB1B8104CEF6}"/>
          </ac:spMkLst>
        </pc:spChg>
        <pc:spChg chg="mod">
          <ac:chgData name="Luiz Macedo" userId="7b3c29be-d15f-473b-8b79-40ce79eed9b8" providerId="ADAL" clId="{6012430E-18C6-4497-8D0D-42C74A04A357}" dt="2022-01-07T21:43:56.688" v="291" actId="1036"/>
          <ac:spMkLst>
            <pc:docMk/>
            <pc:sldMk cId="718775267" sldId="1916"/>
            <ac:spMk id="12" creationId="{47BF8898-9FD2-45C1-99D0-CFBBB378AE6F}"/>
          </ac:spMkLst>
        </pc:spChg>
        <pc:spChg chg="mod">
          <ac:chgData name="Luiz Macedo" userId="7b3c29be-d15f-473b-8b79-40ce79eed9b8" providerId="ADAL" clId="{6012430E-18C6-4497-8D0D-42C74A04A357}" dt="2022-01-07T21:43:56.688" v="291" actId="1036"/>
          <ac:spMkLst>
            <pc:docMk/>
            <pc:sldMk cId="718775267" sldId="1916"/>
            <ac:spMk id="13" creationId="{69F6E19C-7234-42BB-AE1D-C3A9083FA659}"/>
          </ac:spMkLst>
        </pc:spChg>
        <pc:spChg chg="mod">
          <ac:chgData name="Luiz Macedo" userId="7b3c29be-d15f-473b-8b79-40ce79eed9b8" providerId="ADAL" clId="{6012430E-18C6-4497-8D0D-42C74A04A357}" dt="2022-01-07T21:43:56.688" v="291" actId="1036"/>
          <ac:spMkLst>
            <pc:docMk/>
            <pc:sldMk cId="718775267" sldId="1916"/>
            <ac:spMk id="17" creationId="{88B5F330-6D07-4644-96D9-7E2DB77083F3}"/>
          </ac:spMkLst>
        </pc:spChg>
        <pc:spChg chg="mod">
          <ac:chgData name="Luiz Macedo" userId="7b3c29be-d15f-473b-8b79-40ce79eed9b8" providerId="ADAL" clId="{6012430E-18C6-4497-8D0D-42C74A04A357}" dt="2022-01-07T21:43:56.688" v="291" actId="1036"/>
          <ac:spMkLst>
            <pc:docMk/>
            <pc:sldMk cId="718775267" sldId="1916"/>
            <ac:spMk id="21" creationId="{5305A334-18DC-41CC-A0A1-C5722C724BD4}"/>
          </ac:spMkLst>
        </pc:spChg>
        <pc:spChg chg="mod">
          <ac:chgData name="Luiz Macedo" userId="7b3c29be-d15f-473b-8b79-40ce79eed9b8" providerId="ADAL" clId="{6012430E-18C6-4497-8D0D-42C74A04A357}" dt="2022-01-07T21:43:56.688" v="291" actId="1036"/>
          <ac:spMkLst>
            <pc:docMk/>
            <pc:sldMk cId="718775267" sldId="1916"/>
            <ac:spMk id="25" creationId="{3E7A9697-D6DB-447B-8EE0-4EC48645BBFA}"/>
          </ac:spMkLst>
        </pc:spChg>
        <pc:spChg chg="mod">
          <ac:chgData name="Luiz Macedo" userId="7b3c29be-d15f-473b-8b79-40ce79eed9b8" providerId="ADAL" clId="{6012430E-18C6-4497-8D0D-42C74A04A357}" dt="2022-01-07T21:43:56.688" v="291" actId="1036"/>
          <ac:spMkLst>
            <pc:docMk/>
            <pc:sldMk cId="718775267" sldId="1916"/>
            <ac:spMk id="29" creationId="{0F2216BB-D173-4212-AE6A-382AD1F5FFD2}"/>
          </ac:spMkLst>
        </pc:spChg>
        <pc:picChg chg="mod">
          <ac:chgData name="Luiz Macedo" userId="7b3c29be-d15f-473b-8b79-40ce79eed9b8" providerId="ADAL" clId="{6012430E-18C6-4497-8D0D-42C74A04A357}" dt="2022-01-07T21:43:56.688" v="291" actId="1036"/>
          <ac:picMkLst>
            <pc:docMk/>
            <pc:sldMk cId="718775267" sldId="1916"/>
            <ac:picMk id="4" creationId="{35E6E702-E01D-4A1E-B332-819F199594F9}"/>
          </ac:picMkLst>
        </pc:picChg>
      </pc:sldChg>
      <pc:sldChg chg="modSp mod">
        <pc:chgData name="Luiz Macedo" userId="7b3c29be-d15f-473b-8b79-40ce79eed9b8" providerId="ADAL" clId="{6012430E-18C6-4497-8D0D-42C74A04A357}" dt="2022-01-07T21:44:04.919" v="292"/>
        <pc:sldMkLst>
          <pc:docMk/>
          <pc:sldMk cId="279912790" sldId="1917"/>
        </pc:sldMkLst>
        <pc:spChg chg="mod">
          <ac:chgData name="Luiz Macedo" userId="7b3c29be-d15f-473b-8b79-40ce79eed9b8" providerId="ADAL" clId="{6012430E-18C6-4497-8D0D-42C74A04A357}" dt="2022-01-07T21:44:04.919" v="292"/>
          <ac:spMkLst>
            <pc:docMk/>
            <pc:sldMk cId="279912790" sldId="1917"/>
            <ac:spMk id="2" creationId="{C424F13C-82AB-49B7-B175-5C1D43360F4F}"/>
          </ac:spMkLst>
        </pc:spChg>
      </pc:sldChg>
      <pc:sldChg chg="modSp mod">
        <pc:chgData name="Luiz Macedo" userId="7b3c29be-d15f-473b-8b79-40ce79eed9b8" providerId="ADAL" clId="{6012430E-18C6-4497-8D0D-42C74A04A357}" dt="2022-01-07T21:45:52.222" v="323" actId="1036"/>
        <pc:sldMkLst>
          <pc:docMk/>
          <pc:sldMk cId="2815425515" sldId="1918"/>
        </pc:sldMkLst>
        <pc:spChg chg="mod">
          <ac:chgData name="Luiz Macedo" userId="7b3c29be-d15f-473b-8b79-40ce79eed9b8" providerId="ADAL" clId="{6012430E-18C6-4497-8D0D-42C74A04A357}" dt="2022-01-07T21:45:48.190" v="316"/>
          <ac:spMkLst>
            <pc:docMk/>
            <pc:sldMk cId="2815425515" sldId="1918"/>
            <ac:spMk id="2" creationId="{EF39CA7E-AE01-480A-AAB4-23DEDAD8750F}"/>
          </ac:spMkLst>
        </pc:spChg>
        <pc:spChg chg="mod">
          <ac:chgData name="Luiz Macedo" userId="7b3c29be-d15f-473b-8b79-40ce79eed9b8" providerId="ADAL" clId="{6012430E-18C6-4497-8D0D-42C74A04A357}" dt="2022-01-07T21:45:52.222" v="323" actId="1036"/>
          <ac:spMkLst>
            <pc:docMk/>
            <pc:sldMk cId="2815425515" sldId="1918"/>
            <ac:spMk id="6" creationId="{63118F45-47EE-4A87-BE6B-05CE90ABA847}"/>
          </ac:spMkLst>
        </pc:spChg>
        <pc:spChg chg="mod">
          <ac:chgData name="Luiz Macedo" userId="7b3c29be-d15f-473b-8b79-40ce79eed9b8" providerId="ADAL" clId="{6012430E-18C6-4497-8D0D-42C74A04A357}" dt="2022-01-07T21:45:52.222" v="323" actId="1036"/>
          <ac:spMkLst>
            <pc:docMk/>
            <pc:sldMk cId="2815425515" sldId="1918"/>
            <ac:spMk id="7" creationId="{2B92F003-CF86-402A-A266-ADA20FC510E6}"/>
          </ac:spMkLst>
        </pc:spChg>
        <pc:spChg chg="mod">
          <ac:chgData name="Luiz Macedo" userId="7b3c29be-d15f-473b-8b79-40ce79eed9b8" providerId="ADAL" clId="{6012430E-18C6-4497-8D0D-42C74A04A357}" dt="2022-01-07T21:45:52.222" v="323" actId="1036"/>
          <ac:spMkLst>
            <pc:docMk/>
            <pc:sldMk cId="2815425515" sldId="1918"/>
            <ac:spMk id="8" creationId="{1AF04223-87EF-4404-B8C5-47B37C17BD14}"/>
          </ac:spMkLst>
        </pc:spChg>
        <pc:spChg chg="mod">
          <ac:chgData name="Luiz Macedo" userId="7b3c29be-d15f-473b-8b79-40ce79eed9b8" providerId="ADAL" clId="{6012430E-18C6-4497-8D0D-42C74A04A357}" dt="2022-01-07T21:45:52.222" v="323" actId="1036"/>
          <ac:spMkLst>
            <pc:docMk/>
            <pc:sldMk cId="2815425515" sldId="1918"/>
            <ac:spMk id="9" creationId="{F2365794-1731-4229-9E05-70B95F6CA5EA}"/>
          </ac:spMkLst>
        </pc:spChg>
        <pc:spChg chg="mod">
          <ac:chgData name="Luiz Macedo" userId="7b3c29be-d15f-473b-8b79-40ce79eed9b8" providerId="ADAL" clId="{6012430E-18C6-4497-8D0D-42C74A04A357}" dt="2022-01-07T21:45:52.222" v="323" actId="1036"/>
          <ac:spMkLst>
            <pc:docMk/>
            <pc:sldMk cId="2815425515" sldId="1918"/>
            <ac:spMk id="19" creationId="{E214E356-2030-4AC9-8213-EE4267B96215}"/>
          </ac:spMkLst>
        </pc:spChg>
        <pc:spChg chg="mod">
          <ac:chgData name="Luiz Macedo" userId="7b3c29be-d15f-473b-8b79-40ce79eed9b8" providerId="ADAL" clId="{6012430E-18C6-4497-8D0D-42C74A04A357}" dt="2022-01-07T21:45:52.222" v="323" actId="1036"/>
          <ac:spMkLst>
            <pc:docMk/>
            <pc:sldMk cId="2815425515" sldId="1918"/>
            <ac:spMk id="20" creationId="{3E58CA3A-3F7F-4849-A075-A64EF9A14724}"/>
          </ac:spMkLst>
        </pc:spChg>
        <pc:spChg chg="mod">
          <ac:chgData name="Luiz Macedo" userId="7b3c29be-d15f-473b-8b79-40ce79eed9b8" providerId="ADAL" clId="{6012430E-18C6-4497-8D0D-42C74A04A357}" dt="2022-01-07T21:45:52.222" v="323" actId="1036"/>
          <ac:spMkLst>
            <pc:docMk/>
            <pc:sldMk cId="2815425515" sldId="1918"/>
            <ac:spMk id="25" creationId="{C4B39291-DB8A-4404-BE5C-EC6F3EFE5AFB}"/>
          </ac:spMkLst>
        </pc:spChg>
        <pc:spChg chg="mod">
          <ac:chgData name="Luiz Macedo" userId="7b3c29be-d15f-473b-8b79-40ce79eed9b8" providerId="ADAL" clId="{6012430E-18C6-4497-8D0D-42C74A04A357}" dt="2022-01-07T21:45:52.222" v="323" actId="1036"/>
          <ac:spMkLst>
            <pc:docMk/>
            <pc:sldMk cId="2815425515" sldId="1918"/>
            <ac:spMk id="27" creationId="{9F5EE888-AAE4-467A-BFD3-F776945F4329}"/>
          </ac:spMkLst>
        </pc:spChg>
        <pc:spChg chg="mod">
          <ac:chgData name="Luiz Macedo" userId="7b3c29be-d15f-473b-8b79-40ce79eed9b8" providerId="ADAL" clId="{6012430E-18C6-4497-8D0D-42C74A04A357}" dt="2022-01-07T21:45:52.222" v="323" actId="1036"/>
          <ac:spMkLst>
            <pc:docMk/>
            <pc:sldMk cId="2815425515" sldId="1918"/>
            <ac:spMk id="35" creationId="{DF57766A-20A3-4DA7-BE4A-36C3F3D8F8DD}"/>
          </ac:spMkLst>
        </pc:spChg>
        <pc:spChg chg="mod">
          <ac:chgData name="Luiz Macedo" userId="7b3c29be-d15f-473b-8b79-40ce79eed9b8" providerId="ADAL" clId="{6012430E-18C6-4497-8D0D-42C74A04A357}" dt="2022-01-07T21:45:52.222" v="323" actId="1036"/>
          <ac:spMkLst>
            <pc:docMk/>
            <pc:sldMk cId="2815425515" sldId="1918"/>
            <ac:spMk id="50" creationId="{4CC671D8-C238-4A0F-B5FA-485057F7FA4C}"/>
          </ac:spMkLst>
        </pc:spChg>
        <pc:spChg chg="mod">
          <ac:chgData name="Luiz Macedo" userId="7b3c29be-d15f-473b-8b79-40ce79eed9b8" providerId="ADAL" clId="{6012430E-18C6-4497-8D0D-42C74A04A357}" dt="2022-01-07T21:45:52.222" v="323" actId="1036"/>
          <ac:spMkLst>
            <pc:docMk/>
            <pc:sldMk cId="2815425515" sldId="1918"/>
            <ac:spMk id="54" creationId="{F0F5570A-6BB1-4CBD-9BE2-AD75FAB52BE1}"/>
          </ac:spMkLst>
        </pc:spChg>
        <pc:picChg chg="mod">
          <ac:chgData name="Luiz Macedo" userId="7b3c29be-d15f-473b-8b79-40ce79eed9b8" providerId="ADAL" clId="{6012430E-18C6-4497-8D0D-42C74A04A357}" dt="2022-01-07T21:45:52.222" v="323" actId="1036"/>
          <ac:picMkLst>
            <pc:docMk/>
            <pc:sldMk cId="2815425515" sldId="1918"/>
            <ac:picMk id="23" creationId="{08CDDD01-4B70-4B6E-BC32-A87608C3D399}"/>
          </ac:picMkLst>
        </pc:picChg>
        <pc:cxnChg chg="mod">
          <ac:chgData name="Luiz Macedo" userId="7b3c29be-d15f-473b-8b79-40ce79eed9b8" providerId="ADAL" clId="{6012430E-18C6-4497-8D0D-42C74A04A357}" dt="2022-01-07T21:45:52.222" v="323" actId="1036"/>
          <ac:cxnSpMkLst>
            <pc:docMk/>
            <pc:sldMk cId="2815425515" sldId="1918"/>
            <ac:cxnSpMk id="11" creationId="{B59B50DB-6FA3-4E9D-880B-67184B275708}"/>
          </ac:cxnSpMkLst>
        </pc:cxnChg>
        <pc:cxnChg chg="mod">
          <ac:chgData name="Luiz Macedo" userId="7b3c29be-d15f-473b-8b79-40ce79eed9b8" providerId="ADAL" clId="{6012430E-18C6-4497-8D0D-42C74A04A357}" dt="2022-01-07T21:45:52.222" v="323" actId="1036"/>
          <ac:cxnSpMkLst>
            <pc:docMk/>
            <pc:sldMk cId="2815425515" sldId="1918"/>
            <ac:cxnSpMk id="59" creationId="{E1F63BE9-BA58-4D2E-A33B-60DD9FCC52A6}"/>
          </ac:cxnSpMkLst>
        </pc:cxnChg>
        <pc:cxnChg chg="mod">
          <ac:chgData name="Luiz Macedo" userId="7b3c29be-d15f-473b-8b79-40ce79eed9b8" providerId="ADAL" clId="{6012430E-18C6-4497-8D0D-42C74A04A357}" dt="2022-01-07T21:45:52.222" v="323" actId="1036"/>
          <ac:cxnSpMkLst>
            <pc:docMk/>
            <pc:sldMk cId="2815425515" sldId="1918"/>
            <ac:cxnSpMk id="61" creationId="{783549A0-F38A-43E4-9AF7-0C74EB42204A}"/>
          </ac:cxnSpMkLst>
        </pc:cxnChg>
        <pc:cxnChg chg="mod">
          <ac:chgData name="Luiz Macedo" userId="7b3c29be-d15f-473b-8b79-40ce79eed9b8" providerId="ADAL" clId="{6012430E-18C6-4497-8D0D-42C74A04A357}" dt="2022-01-07T21:45:52.222" v="323" actId="1036"/>
          <ac:cxnSpMkLst>
            <pc:docMk/>
            <pc:sldMk cId="2815425515" sldId="1918"/>
            <ac:cxnSpMk id="63" creationId="{A485C11B-C59A-47BE-A202-EF31949A100F}"/>
          </ac:cxnSpMkLst>
        </pc:cxnChg>
      </pc:sldChg>
      <pc:sldChg chg="modSp mod">
        <pc:chgData name="Luiz Macedo" userId="7b3c29be-d15f-473b-8b79-40ce79eed9b8" providerId="ADAL" clId="{6012430E-18C6-4497-8D0D-42C74A04A357}" dt="2022-01-07T21:45:57.804" v="324"/>
        <pc:sldMkLst>
          <pc:docMk/>
          <pc:sldMk cId="778037196" sldId="1919"/>
        </pc:sldMkLst>
        <pc:spChg chg="mod">
          <ac:chgData name="Luiz Macedo" userId="7b3c29be-d15f-473b-8b79-40ce79eed9b8" providerId="ADAL" clId="{6012430E-18C6-4497-8D0D-42C74A04A357}" dt="2022-01-07T21:45:57.804" v="324"/>
          <ac:spMkLst>
            <pc:docMk/>
            <pc:sldMk cId="778037196" sldId="1919"/>
            <ac:spMk id="2" creationId="{0214A24B-7026-49F1-BE10-0F050C4FAEF9}"/>
          </ac:spMkLst>
        </pc:spChg>
      </pc:sldChg>
      <pc:sldChg chg="modSp mod">
        <pc:chgData name="Luiz Macedo" userId="7b3c29be-d15f-473b-8b79-40ce79eed9b8" providerId="ADAL" clId="{6012430E-18C6-4497-8D0D-42C74A04A357}" dt="2022-01-07T21:46:05.804" v="325"/>
        <pc:sldMkLst>
          <pc:docMk/>
          <pc:sldMk cId="2843641245" sldId="1920"/>
        </pc:sldMkLst>
        <pc:spChg chg="mod">
          <ac:chgData name="Luiz Macedo" userId="7b3c29be-d15f-473b-8b79-40ce79eed9b8" providerId="ADAL" clId="{6012430E-18C6-4497-8D0D-42C74A04A357}" dt="2022-01-07T21:46:05.804" v="325"/>
          <ac:spMkLst>
            <pc:docMk/>
            <pc:sldMk cId="2843641245" sldId="1920"/>
            <ac:spMk id="2" creationId="{C1651913-B7C1-4D16-9926-7B36BD404244}"/>
          </ac:spMkLst>
        </pc:spChg>
      </pc:sldChg>
      <pc:sldChg chg="modSp add mod">
        <pc:chgData name="Luiz Macedo" userId="7b3c29be-d15f-473b-8b79-40ce79eed9b8" providerId="ADAL" clId="{6012430E-18C6-4497-8D0D-42C74A04A357}" dt="2022-01-07T21:52:15.642" v="428"/>
        <pc:sldMkLst>
          <pc:docMk/>
          <pc:sldMk cId="1219001742" sldId="1921"/>
        </pc:sldMkLst>
        <pc:spChg chg="mod">
          <ac:chgData name="Luiz Macedo" userId="7b3c29be-d15f-473b-8b79-40ce79eed9b8" providerId="ADAL" clId="{6012430E-18C6-4497-8D0D-42C74A04A357}" dt="2022-01-07T21:52:15.642" v="428"/>
          <ac:spMkLst>
            <pc:docMk/>
            <pc:sldMk cId="1219001742" sldId="1921"/>
            <ac:spMk id="2" creationId="{313381AD-4296-4B5B-A173-CAB1822F7A64}"/>
          </ac:spMkLst>
        </pc:spChg>
      </pc:sldChg>
      <pc:sldChg chg="modSp mod">
        <pc:chgData name="Luiz Macedo" userId="7b3c29be-d15f-473b-8b79-40ce79eed9b8" providerId="ADAL" clId="{6012430E-18C6-4497-8D0D-42C74A04A357}" dt="2022-01-07T21:46:13.831" v="326"/>
        <pc:sldMkLst>
          <pc:docMk/>
          <pc:sldMk cId="1435531668" sldId="1922"/>
        </pc:sldMkLst>
        <pc:spChg chg="mod">
          <ac:chgData name="Luiz Macedo" userId="7b3c29be-d15f-473b-8b79-40ce79eed9b8" providerId="ADAL" clId="{6012430E-18C6-4497-8D0D-42C74A04A357}" dt="2022-01-07T21:46:13.831" v="326"/>
          <ac:spMkLst>
            <pc:docMk/>
            <pc:sldMk cId="1435531668" sldId="1922"/>
            <ac:spMk id="2" creationId="{B0260DBB-D10A-469E-966D-D519773CEE98}"/>
          </ac:spMkLst>
        </pc:spChg>
      </pc:sldChg>
      <pc:sldChg chg="modSp mod">
        <pc:chgData name="Luiz Macedo" userId="7b3c29be-d15f-473b-8b79-40ce79eed9b8" providerId="ADAL" clId="{6012430E-18C6-4497-8D0D-42C74A04A357}" dt="2022-01-07T21:46:23.719" v="331" actId="1036"/>
        <pc:sldMkLst>
          <pc:docMk/>
          <pc:sldMk cId="238848232" sldId="1925"/>
        </pc:sldMkLst>
        <pc:spChg chg="mod">
          <ac:chgData name="Luiz Macedo" userId="7b3c29be-d15f-473b-8b79-40ce79eed9b8" providerId="ADAL" clId="{6012430E-18C6-4497-8D0D-42C74A04A357}" dt="2022-01-07T21:46:20.331" v="327"/>
          <ac:spMkLst>
            <pc:docMk/>
            <pc:sldMk cId="238848232" sldId="1925"/>
            <ac:spMk id="2" creationId="{ACAF90C1-2255-406A-BD57-9F10E7E4A42E}"/>
          </ac:spMkLst>
        </pc:spChg>
        <pc:spChg chg="mod">
          <ac:chgData name="Luiz Macedo" userId="7b3c29be-d15f-473b-8b79-40ce79eed9b8" providerId="ADAL" clId="{6012430E-18C6-4497-8D0D-42C74A04A357}" dt="2022-01-07T21:46:23.719" v="331" actId="1036"/>
          <ac:spMkLst>
            <pc:docMk/>
            <pc:sldMk cId="238848232" sldId="1925"/>
            <ac:spMk id="3" creationId="{A212A565-2A92-4C27-8EEF-09608B4A4BB1}"/>
          </ac:spMkLst>
        </pc:spChg>
        <pc:spChg chg="mod">
          <ac:chgData name="Luiz Macedo" userId="7b3c29be-d15f-473b-8b79-40ce79eed9b8" providerId="ADAL" clId="{6012430E-18C6-4497-8D0D-42C74A04A357}" dt="2022-01-07T21:46:23.719" v="331" actId="1036"/>
          <ac:spMkLst>
            <pc:docMk/>
            <pc:sldMk cId="238848232" sldId="1925"/>
            <ac:spMk id="7" creationId="{F8894E2A-5127-4533-BAF0-085F01FB1AE6}"/>
          </ac:spMkLst>
        </pc:spChg>
        <pc:spChg chg="mod">
          <ac:chgData name="Luiz Macedo" userId="7b3c29be-d15f-473b-8b79-40ce79eed9b8" providerId="ADAL" clId="{6012430E-18C6-4497-8D0D-42C74A04A357}" dt="2022-01-07T21:46:23.719" v="331" actId="1036"/>
          <ac:spMkLst>
            <pc:docMk/>
            <pc:sldMk cId="238848232" sldId="1925"/>
            <ac:spMk id="33" creationId="{7F0AB304-A449-48F1-A88B-0F1EB7A90DDE}"/>
          </ac:spMkLst>
        </pc:spChg>
        <pc:picChg chg="mod">
          <ac:chgData name="Luiz Macedo" userId="7b3c29be-d15f-473b-8b79-40ce79eed9b8" providerId="ADAL" clId="{6012430E-18C6-4497-8D0D-42C74A04A357}" dt="2022-01-07T21:46:23.719" v="331" actId="1036"/>
          <ac:picMkLst>
            <pc:docMk/>
            <pc:sldMk cId="238848232" sldId="1925"/>
            <ac:picMk id="5" creationId="{E941C252-E844-47D7-8AFC-8D8DD65DCEDE}"/>
          </ac:picMkLst>
        </pc:picChg>
      </pc:sldChg>
      <pc:sldChg chg="modSp mod">
        <pc:chgData name="Luiz Macedo" userId="7b3c29be-d15f-473b-8b79-40ce79eed9b8" providerId="ADAL" clId="{6012430E-18C6-4497-8D0D-42C74A04A357}" dt="2022-01-07T21:41:14.867" v="253"/>
        <pc:sldMkLst>
          <pc:docMk/>
          <pc:sldMk cId="3308441462" sldId="1927"/>
        </pc:sldMkLst>
        <pc:spChg chg="mod">
          <ac:chgData name="Luiz Macedo" userId="7b3c29be-d15f-473b-8b79-40ce79eed9b8" providerId="ADAL" clId="{6012430E-18C6-4497-8D0D-42C74A04A357}" dt="2022-01-07T21:41:14.867" v="253"/>
          <ac:spMkLst>
            <pc:docMk/>
            <pc:sldMk cId="3308441462" sldId="1927"/>
            <ac:spMk id="4" creationId="{00000000-0000-0000-0000-000000000000}"/>
          </ac:spMkLst>
        </pc:spChg>
      </pc:sldChg>
      <pc:sldChg chg="modSp mod">
        <pc:chgData name="Luiz Macedo" userId="7b3c29be-d15f-473b-8b79-40ce79eed9b8" providerId="ADAL" clId="{6012430E-18C6-4497-8D0D-42C74A04A357}" dt="2022-01-07T21:41:07.270" v="252"/>
        <pc:sldMkLst>
          <pc:docMk/>
          <pc:sldMk cId="3412298236" sldId="1928"/>
        </pc:sldMkLst>
        <pc:spChg chg="mod">
          <ac:chgData name="Luiz Macedo" userId="7b3c29be-d15f-473b-8b79-40ce79eed9b8" providerId="ADAL" clId="{6012430E-18C6-4497-8D0D-42C74A04A357}" dt="2022-01-07T21:41:07.270" v="252"/>
          <ac:spMkLst>
            <pc:docMk/>
            <pc:sldMk cId="3412298236" sldId="1928"/>
            <ac:spMk id="4" creationId="{00000000-0000-0000-0000-000000000000}"/>
          </ac:spMkLst>
        </pc:spChg>
      </pc:sldChg>
      <pc:sldChg chg="addSp delSp modSp mod modNotes">
        <pc:chgData name="Luiz Macedo" userId="7b3c29be-d15f-473b-8b79-40ce79eed9b8" providerId="ADAL" clId="{6012430E-18C6-4497-8D0D-42C74A04A357}" dt="2022-01-07T21:48:56.114" v="389" actId="20577"/>
        <pc:sldMkLst>
          <pc:docMk/>
          <pc:sldMk cId="354591438" sldId="1929"/>
        </pc:sldMkLst>
        <pc:spChg chg="mod">
          <ac:chgData name="Luiz Macedo" userId="7b3c29be-d15f-473b-8b79-40ce79eed9b8" providerId="ADAL" clId="{6012430E-18C6-4497-8D0D-42C74A04A357}" dt="2022-01-07T21:48:56.114" v="389" actId="20577"/>
          <ac:spMkLst>
            <pc:docMk/>
            <pc:sldMk cId="354591438" sldId="1929"/>
            <ac:spMk id="2" creationId="{6A415563-0CCF-4B2D-8D8F-A21F45DF323B}"/>
          </ac:spMkLst>
        </pc:spChg>
        <pc:spChg chg="mod">
          <ac:chgData name="Luiz Macedo" userId="7b3c29be-d15f-473b-8b79-40ce79eed9b8" providerId="ADAL" clId="{6012430E-18C6-4497-8D0D-42C74A04A357}" dt="2022-01-07T21:46:53.229" v="340" actId="1036"/>
          <ac:spMkLst>
            <pc:docMk/>
            <pc:sldMk cId="354591438" sldId="1929"/>
            <ac:spMk id="7" creationId="{682D1EA7-3A19-4AAB-A067-833F8648E116}"/>
          </ac:spMkLst>
        </pc:spChg>
        <pc:spChg chg="mod">
          <ac:chgData name="Luiz Macedo" userId="7b3c29be-d15f-473b-8b79-40ce79eed9b8" providerId="ADAL" clId="{6012430E-18C6-4497-8D0D-42C74A04A357}" dt="2022-01-07T21:48:20.354" v="376" actId="14100"/>
          <ac:spMkLst>
            <pc:docMk/>
            <pc:sldMk cId="354591438" sldId="1929"/>
            <ac:spMk id="16" creationId="{2BEA2DD9-540D-4CA3-8667-2FA93CDF63D0}"/>
          </ac:spMkLst>
        </pc:spChg>
        <pc:picChg chg="add mod">
          <ac:chgData name="Luiz Macedo" userId="7b3c29be-d15f-473b-8b79-40ce79eed9b8" providerId="ADAL" clId="{6012430E-18C6-4497-8D0D-42C74A04A357}" dt="2022-01-07T21:48:41.092" v="383" actId="1076"/>
          <ac:picMkLst>
            <pc:docMk/>
            <pc:sldMk cId="354591438" sldId="1929"/>
            <ac:picMk id="4" creationId="{66D6D9AF-010C-4F67-A252-7AF06092D531}"/>
          </ac:picMkLst>
        </pc:picChg>
        <pc:picChg chg="del mod">
          <ac:chgData name="Luiz Macedo" userId="7b3c29be-d15f-473b-8b79-40ce79eed9b8" providerId="ADAL" clId="{6012430E-18C6-4497-8D0D-42C74A04A357}" dt="2022-01-07T21:47:36.351" v="344" actId="478"/>
          <ac:picMkLst>
            <pc:docMk/>
            <pc:sldMk cId="354591438" sldId="1929"/>
            <ac:picMk id="5" creationId="{506DA316-1345-4609-B779-14CD4043B5DB}"/>
          </ac:picMkLst>
        </pc:picChg>
      </pc:sldChg>
      <pc:sldChg chg="modSp mod">
        <pc:chgData name="Luiz Macedo" userId="7b3c29be-d15f-473b-8b79-40ce79eed9b8" providerId="ADAL" clId="{6012430E-18C6-4497-8D0D-42C74A04A357}" dt="2022-01-07T21:40:36.528" v="246" actId="1036"/>
        <pc:sldMkLst>
          <pc:docMk/>
          <pc:sldMk cId="3269770873" sldId="1931"/>
        </pc:sldMkLst>
        <pc:spChg chg="mod">
          <ac:chgData name="Luiz Macedo" userId="7b3c29be-d15f-473b-8b79-40ce79eed9b8" providerId="ADAL" clId="{6012430E-18C6-4497-8D0D-42C74A04A357}" dt="2022-01-07T21:40:36.528" v="246" actId="1036"/>
          <ac:spMkLst>
            <pc:docMk/>
            <pc:sldMk cId="3269770873" sldId="1931"/>
            <ac:spMk id="6" creationId="{ED89A3E7-751E-4A56-96C1-80167C1D7E1E}"/>
          </ac:spMkLst>
        </pc:spChg>
        <pc:spChg chg="mod">
          <ac:chgData name="Luiz Macedo" userId="7b3c29be-d15f-473b-8b79-40ce79eed9b8" providerId="ADAL" clId="{6012430E-18C6-4497-8D0D-42C74A04A357}" dt="2022-01-07T21:40:36.528" v="246" actId="1036"/>
          <ac:spMkLst>
            <pc:docMk/>
            <pc:sldMk cId="3269770873" sldId="1931"/>
            <ac:spMk id="7" creationId="{4B587ABB-FE90-4ECC-940F-32C94EBF6557}"/>
          </ac:spMkLst>
        </pc:spChg>
        <pc:spChg chg="mod">
          <ac:chgData name="Luiz Macedo" userId="7b3c29be-d15f-473b-8b79-40ce79eed9b8" providerId="ADAL" clId="{6012430E-18C6-4497-8D0D-42C74A04A357}" dt="2022-01-07T21:40:36.528" v="246" actId="1036"/>
          <ac:spMkLst>
            <pc:docMk/>
            <pc:sldMk cId="3269770873" sldId="1931"/>
            <ac:spMk id="10" creationId="{4762504D-36D7-4833-A368-C6CCA37C9B81}"/>
          </ac:spMkLst>
        </pc:spChg>
        <pc:spChg chg="mod">
          <ac:chgData name="Luiz Macedo" userId="7b3c29be-d15f-473b-8b79-40ce79eed9b8" providerId="ADAL" clId="{6012430E-18C6-4497-8D0D-42C74A04A357}" dt="2022-01-07T21:40:36.528" v="246" actId="1036"/>
          <ac:spMkLst>
            <pc:docMk/>
            <pc:sldMk cId="3269770873" sldId="1931"/>
            <ac:spMk id="12" creationId="{24D5917E-3BEF-4F93-907E-D044B8D2C9D2}"/>
          </ac:spMkLst>
        </pc:spChg>
        <pc:spChg chg="mod">
          <ac:chgData name="Luiz Macedo" userId="7b3c29be-d15f-473b-8b79-40ce79eed9b8" providerId="ADAL" clId="{6012430E-18C6-4497-8D0D-42C74A04A357}" dt="2022-01-07T21:40:36.528" v="246" actId="1036"/>
          <ac:spMkLst>
            <pc:docMk/>
            <pc:sldMk cId="3269770873" sldId="1931"/>
            <ac:spMk id="15" creationId="{2D5250A8-3037-4FD5-AEC3-2642D84BC41F}"/>
          </ac:spMkLst>
        </pc:spChg>
        <pc:spChg chg="mod">
          <ac:chgData name="Luiz Macedo" userId="7b3c29be-d15f-473b-8b79-40ce79eed9b8" providerId="ADAL" clId="{6012430E-18C6-4497-8D0D-42C74A04A357}" dt="2022-01-07T21:40:36.528" v="246" actId="1036"/>
          <ac:spMkLst>
            <pc:docMk/>
            <pc:sldMk cId="3269770873" sldId="1931"/>
            <ac:spMk id="16" creationId="{26573D38-FD07-4BF8-986C-F3740C2A8BE1}"/>
          </ac:spMkLst>
        </pc:spChg>
        <pc:spChg chg="mod">
          <ac:chgData name="Luiz Macedo" userId="7b3c29be-d15f-473b-8b79-40ce79eed9b8" providerId="ADAL" clId="{6012430E-18C6-4497-8D0D-42C74A04A357}" dt="2022-01-07T21:40:36.528" v="246" actId="1036"/>
          <ac:spMkLst>
            <pc:docMk/>
            <pc:sldMk cId="3269770873" sldId="1931"/>
            <ac:spMk id="18" creationId="{CAB98A59-6AFB-458F-8340-057A20CDAAA4}"/>
          </ac:spMkLst>
        </pc:spChg>
        <pc:spChg chg="mod">
          <ac:chgData name="Luiz Macedo" userId="7b3c29be-d15f-473b-8b79-40ce79eed9b8" providerId="ADAL" clId="{6012430E-18C6-4497-8D0D-42C74A04A357}" dt="2022-01-07T21:40:36.528" v="246" actId="1036"/>
          <ac:spMkLst>
            <pc:docMk/>
            <pc:sldMk cId="3269770873" sldId="1931"/>
            <ac:spMk id="20" creationId="{7AA3E8E4-491A-43B2-8116-EC30FD9DDB7A}"/>
          </ac:spMkLst>
        </pc:spChg>
        <pc:spChg chg="mod">
          <ac:chgData name="Luiz Macedo" userId="7b3c29be-d15f-473b-8b79-40ce79eed9b8" providerId="ADAL" clId="{6012430E-18C6-4497-8D0D-42C74A04A357}" dt="2022-01-07T21:40:36.528" v="246" actId="1036"/>
          <ac:spMkLst>
            <pc:docMk/>
            <pc:sldMk cId="3269770873" sldId="1931"/>
            <ac:spMk id="30" creationId="{683ACD2D-117F-4D39-A485-56F55744A2D5}"/>
          </ac:spMkLst>
        </pc:spChg>
        <pc:spChg chg="mod">
          <ac:chgData name="Luiz Macedo" userId="7b3c29be-d15f-473b-8b79-40ce79eed9b8" providerId="ADAL" clId="{6012430E-18C6-4497-8D0D-42C74A04A357}" dt="2022-01-07T21:40:36.528" v="246" actId="1036"/>
          <ac:spMkLst>
            <pc:docMk/>
            <pc:sldMk cId="3269770873" sldId="1931"/>
            <ac:spMk id="52" creationId="{D19F0313-94DE-4794-8F9C-D4EB40EF7BEB}"/>
          </ac:spMkLst>
        </pc:spChg>
        <pc:picChg chg="mod">
          <ac:chgData name="Luiz Macedo" userId="7b3c29be-d15f-473b-8b79-40ce79eed9b8" providerId="ADAL" clId="{6012430E-18C6-4497-8D0D-42C74A04A357}" dt="2022-01-07T21:40:36.528" v="246" actId="1036"/>
          <ac:picMkLst>
            <pc:docMk/>
            <pc:sldMk cId="3269770873" sldId="1931"/>
            <ac:picMk id="11" creationId="{76F9D88A-D8EC-4601-AD01-BDA84CB889C1}"/>
          </ac:picMkLst>
        </pc:picChg>
        <pc:picChg chg="mod">
          <ac:chgData name="Luiz Macedo" userId="7b3c29be-d15f-473b-8b79-40ce79eed9b8" providerId="ADAL" clId="{6012430E-18C6-4497-8D0D-42C74A04A357}" dt="2022-01-07T21:40:36.528" v="246" actId="1036"/>
          <ac:picMkLst>
            <pc:docMk/>
            <pc:sldMk cId="3269770873" sldId="1931"/>
            <ac:picMk id="14" creationId="{1C7307F7-EA43-4C44-922D-80CDE88E14AA}"/>
          </ac:picMkLst>
        </pc:picChg>
        <pc:picChg chg="mod">
          <ac:chgData name="Luiz Macedo" userId="7b3c29be-d15f-473b-8b79-40ce79eed9b8" providerId="ADAL" clId="{6012430E-18C6-4497-8D0D-42C74A04A357}" dt="2022-01-07T21:40:36.528" v="246" actId="1036"/>
          <ac:picMkLst>
            <pc:docMk/>
            <pc:sldMk cId="3269770873" sldId="1931"/>
            <ac:picMk id="17" creationId="{B0717E69-2DCB-4F81-8C19-97939A027169}"/>
          </ac:picMkLst>
        </pc:picChg>
        <pc:picChg chg="mod">
          <ac:chgData name="Luiz Macedo" userId="7b3c29be-d15f-473b-8b79-40ce79eed9b8" providerId="ADAL" clId="{6012430E-18C6-4497-8D0D-42C74A04A357}" dt="2022-01-07T21:40:36.528" v="246" actId="1036"/>
          <ac:picMkLst>
            <pc:docMk/>
            <pc:sldMk cId="3269770873" sldId="1931"/>
            <ac:picMk id="28" creationId="{2457F1AF-CBE1-4A79-9970-DC5CE2E1BEE2}"/>
          </ac:picMkLst>
        </pc:picChg>
        <pc:picChg chg="mod">
          <ac:chgData name="Luiz Macedo" userId="7b3c29be-d15f-473b-8b79-40ce79eed9b8" providerId="ADAL" clId="{6012430E-18C6-4497-8D0D-42C74A04A357}" dt="2022-01-07T21:40:36.528" v="246" actId="1036"/>
          <ac:picMkLst>
            <pc:docMk/>
            <pc:sldMk cId="3269770873" sldId="1931"/>
            <ac:picMk id="51" creationId="{2617AC34-8587-4182-9D53-64B17F47D128}"/>
          </ac:picMkLst>
        </pc:picChg>
        <pc:cxnChg chg="mod">
          <ac:chgData name="Luiz Macedo" userId="7b3c29be-d15f-473b-8b79-40ce79eed9b8" providerId="ADAL" clId="{6012430E-18C6-4497-8D0D-42C74A04A357}" dt="2022-01-07T21:40:36.528" v="246" actId="1036"/>
          <ac:cxnSpMkLst>
            <pc:docMk/>
            <pc:sldMk cId="3269770873" sldId="1931"/>
            <ac:cxnSpMk id="21" creationId="{950A4CA1-D353-456C-9FDD-2E313F3469F7}"/>
          </ac:cxnSpMkLst>
        </pc:cxnChg>
        <pc:cxnChg chg="mod">
          <ac:chgData name="Luiz Macedo" userId="7b3c29be-d15f-473b-8b79-40ce79eed9b8" providerId="ADAL" clId="{6012430E-18C6-4497-8D0D-42C74A04A357}" dt="2022-01-07T21:40:36.528" v="246" actId="1036"/>
          <ac:cxnSpMkLst>
            <pc:docMk/>
            <pc:sldMk cId="3269770873" sldId="1931"/>
            <ac:cxnSpMk id="22" creationId="{0466BD81-E804-40CF-BA7B-B23A7AED3CE9}"/>
          </ac:cxnSpMkLst>
        </pc:cxnChg>
        <pc:cxnChg chg="mod">
          <ac:chgData name="Luiz Macedo" userId="7b3c29be-d15f-473b-8b79-40ce79eed9b8" providerId="ADAL" clId="{6012430E-18C6-4497-8D0D-42C74A04A357}" dt="2022-01-07T21:40:36.528" v="246" actId="1036"/>
          <ac:cxnSpMkLst>
            <pc:docMk/>
            <pc:sldMk cId="3269770873" sldId="1931"/>
            <ac:cxnSpMk id="23" creationId="{9CDA5B00-2310-44EC-808D-DB0965BFC985}"/>
          </ac:cxnSpMkLst>
        </pc:cxnChg>
        <pc:cxnChg chg="mod">
          <ac:chgData name="Luiz Macedo" userId="7b3c29be-d15f-473b-8b79-40ce79eed9b8" providerId="ADAL" clId="{6012430E-18C6-4497-8D0D-42C74A04A357}" dt="2022-01-07T21:40:36.528" v="246" actId="1036"/>
          <ac:cxnSpMkLst>
            <pc:docMk/>
            <pc:sldMk cId="3269770873" sldId="1931"/>
            <ac:cxnSpMk id="24" creationId="{D46A4B1B-8FC5-4B0F-A17A-CE451CA065BA}"/>
          </ac:cxnSpMkLst>
        </pc:cxnChg>
      </pc:sldChg>
      <pc:sldChg chg="addSp delSp modSp add mod">
        <pc:chgData name="Luiz Macedo" userId="7b3c29be-d15f-473b-8b79-40ce79eed9b8" providerId="ADAL" clId="{6012430E-18C6-4497-8D0D-42C74A04A357}" dt="2022-01-07T21:37:09.643" v="167" actId="1038"/>
        <pc:sldMkLst>
          <pc:docMk/>
          <pc:sldMk cId="591348677" sldId="1941"/>
        </pc:sldMkLst>
        <pc:spChg chg="add mod">
          <ac:chgData name="Luiz Macedo" userId="7b3c29be-d15f-473b-8b79-40ce79eed9b8" providerId="ADAL" clId="{6012430E-18C6-4497-8D0D-42C74A04A357}" dt="2022-01-07T21:36:50.666" v="161" actId="1036"/>
          <ac:spMkLst>
            <pc:docMk/>
            <pc:sldMk cId="591348677" sldId="1941"/>
            <ac:spMk id="5" creationId="{B99FFC96-2F81-4CED-B473-09E9836B1E8C}"/>
          </ac:spMkLst>
        </pc:spChg>
        <pc:spChg chg="add mod">
          <ac:chgData name="Luiz Macedo" userId="7b3c29be-d15f-473b-8b79-40ce79eed9b8" providerId="ADAL" clId="{6012430E-18C6-4497-8D0D-42C74A04A357}" dt="2022-01-07T21:36:50.666" v="161" actId="1036"/>
          <ac:spMkLst>
            <pc:docMk/>
            <pc:sldMk cId="591348677" sldId="1941"/>
            <ac:spMk id="8" creationId="{37449885-DA04-47BE-B5C4-9242755BE54C}"/>
          </ac:spMkLst>
        </pc:spChg>
        <pc:spChg chg="mod">
          <ac:chgData name="Luiz Macedo" userId="7b3c29be-d15f-473b-8b79-40ce79eed9b8" providerId="ADAL" clId="{6012430E-18C6-4497-8D0D-42C74A04A357}" dt="2022-01-07T21:36:50.666" v="161" actId="1036"/>
          <ac:spMkLst>
            <pc:docMk/>
            <pc:sldMk cId="591348677" sldId="1941"/>
            <ac:spMk id="71" creationId="{27C301BF-9D46-44C8-A055-18088408385F}"/>
          </ac:spMkLst>
        </pc:spChg>
        <pc:spChg chg="mod">
          <ac:chgData name="Luiz Macedo" userId="7b3c29be-d15f-473b-8b79-40ce79eed9b8" providerId="ADAL" clId="{6012430E-18C6-4497-8D0D-42C74A04A357}" dt="2022-01-07T21:36:50.666" v="161" actId="1036"/>
          <ac:spMkLst>
            <pc:docMk/>
            <pc:sldMk cId="591348677" sldId="1941"/>
            <ac:spMk id="74" creationId="{89FD8D76-52AA-4B44-B5E7-A07C19C4A83D}"/>
          </ac:spMkLst>
        </pc:spChg>
        <pc:spChg chg="mod">
          <ac:chgData name="Luiz Macedo" userId="7b3c29be-d15f-473b-8b79-40ce79eed9b8" providerId="ADAL" clId="{6012430E-18C6-4497-8D0D-42C74A04A357}" dt="2022-01-07T21:36:50.666" v="161" actId="1036"/>
          <ac:spMkLst>
            <pc:docMk/>
            <pc:sldMk cId="591348677" sldId="1941"/>
            <ac:spMk id="77" creationId="{2B178F0A-D602-4E53-A4F4-C21C3FD78661}"/>
          </ac:spMkLst>
        </pc:spChg>
        <pc:spChg chg="mod">
          <ac:chgData name="Luiz Macedo" userId="7b3c29be-d15f-473b-8b79-40ce79eed9b8" providerId="ADAL" clId="{6012430E-18C6-4497-8D0D-42C74A04A357}" dt="2022-01-07T21:36:50.666" v="161" actId="1036"/>
          <ac:spMkLst>
            <pc:docMk/>
            <pc:sldMk cId="591348677" sldId="1941"/>
            <ac:spMk id="79" creationId="{67663F80-641B-4C52-8F62-E533B8367BC5}"/>
          </ac:spMkLst>
        </pc:spChg>
        <pc:spChg chg="mod">
          <ac:chgData name="Luiz Macedo" userId="7b3c29be-d15f-473b-8b79-40ce79eed9b8" providerId="ADAL" clId="{6012430E-18C6-4497-8D0D-42C74A04A357}" dt="2022-01-07T21:36:50.666" v="161" actId="1036"/>
          <ac:spMkLst>
            <pc:docMk/>
            <pc:sldMk cId="591348677" sldId="1941"/>
            <ac:spMk id="81" creationId="{1BDC5E8C-5788-42D3-9A02-1832E8956957}"/>
          </ac:spMkLst>
        </pc:spChg>
        <pc:picChg chg="add mod">
          <ac:chgData name="Luiz Macedo" userId="7b3c29be-d15f-473b-8b79-40ce79eed9b8" providerId="ADAL" clId="{6012430E-18C6-4497-8D0D-42C74A04A357}" dt="2022-01-07T21:36:50.666" v="161" actId="1036"/>
          <ac:picMkLst>
            <pc:docMk/>
            <pc:sldMk cId="591348677" sldId="1941"/>
            <ac:picMk id="3" creationId="{4F975B0A-AE7F-4324-99B4-479500FF09BE}"/>
          </ac:picMkLst>
        </pc:picChg>
        <pc:picChg chg="add mod">
          <ac:chgData name="Luiz Macedo" userId="7b3c29be-d15f-473b-8b79-40ce79eed9b8" providerId="ADAL" clId="{6012430E-18C6-4497-8D0D-42C74A04A357}" dt="2022-01-07T21:36:50.666" v="161" actId="1036"/>
          <ac:picMkLst>
            <pc:docMk/>
            <pc:sldMk cId="591348677" sldId="1941"/>
            <ac:picMk id="7" creationId="{79E401A7-6BEC-4CD4-9B68-0568893AC44E}"/>
          </ac:picMkLst>
        </pc:picChg>
        <pc:picChg chg="mod">
          <ac:chgData name="Luiz Macedo" userId="7b3c29be-d15f-473b-8b79-40ce79eed9b8" providerId="ADAL" clId="{6012430E-18C6-4497-8D0D-42C74A04A357}" dt="2022-01-07T21:36:50.666" v="161" actId="1036"/>
          <ac:picMkLst>
            <pc:docMk/>
            <pc:sldMk cId="591348677" sldId="1941"/>
            <ac:picMk id="32" creationId="{AB1214F9-75C9-4443-8B03-BF592F9A965B}"/>
          </ac:picMkLst>
        </pc:picChg>
        <pc:picChg chg="mod">
          <ac:chgData name="Luiz Macedo" userId="7b3c29be-d15f-473b-8b79-40ce79eed9b8" providerId="ADAL" clId="{6012430E-18C6-4497-8D0D-42C74A04A357}" dt="2022-01-07T21:36:50.666" v="161" actId="1036"/>
          <ac:picMkLst>
            <pc:docMk/>
            <pc:sldMk cId="591348677" sldId="1941"/>
            <ac:picMk id="70" creationId="{2485CC25-DAA5-418C-B702-A4C6A5369966}"/>
          </ac:picMkLst>
        </pc:picChg>
        <pc:picChg chg="mod">
          <ac:chgData name="Luiz Macedo" userId="7b3c29be-d15f-473b-8b79-40ce79eed9b8" providerId="ADAL" clId="{6012430E-18C6-4497-8D0D-42C74A04A357}" dt="2022-01-07T21:36:50.666" v="161" actId="1036"/>
          <ac:picMkLst>
            <pc:docMk/>
            <pc:sldMk cId="591348677" sldId="1941"/>
            <ac:picMk id="72" creationId="{B1B1F4A4-7EC6-4E1D-90FE-36EF57A9E2E4}"/>
          </ac:picMkLst>
        </pc:picChg>
        <pc:picChg chg="mod">
          <ac:chgData name="Luiz Macedo" userId="7b3c29be-d15f-473b-8b79-40ce79eed9b8" providerId="ADAL" clId="{6012430E-18C6-4497-8D0D-42C74A04A357}" dt="2022-01-07T21:36:50.666" v="161" actId="1036"/>
          <ac:picMkLst>
            <pc:docMk/>
            <pc:sldMk cId="591348677" sldId="1941"/>
            <ac:picMk id="76" creationId="{A99E3B1C-72EC-43C0-9BC6-66847EBDFE44}"/>
          </ac:picMkLst>
        </pc:picChg>
        <pc:picChg chg="mod">
          <ac:chgData name="Luiz Macedo" userId="7b3c29be-d15f-473b-8b79-40ce79eed9b8" providerId="ADAL" clId="{6012430E-18C6-4497-8D0D-42C74A04A357}" dt="2022-01-07T21:36:50.666" v="161" actId="1036"/>
          <ac:picMkLst>
            <pc:docMk/>
            <pc:sldMk cId="591348677" sldId="1941"/>
            <ac:picMk id="78" creationId="{CC638140-DE3B-4AB1-88AD-29D009FF05DA}"/>
          </ac:picMkLst>
        </pc:picChg>
        <pc:cxnChg chg="add del mod">
          <ac:chgData name="Luiz Macedo" userId="7b3c29be-d15f-473b-8b79-40ce79eed9b8" providerId="ADAL" clId="{6012430E-18C6-4497-8D0D-42C74A04A357}" dt="2022-01-07T21:36:13.595" v="136" actId="478"/>
          <ac:cxnSpMkLst>
            <pc:docMk/>
            <pc:sldMk cId="591348677" sldId="1941"/>
            <ac:cxnSpMk id="6" creationId="{FE989821-76EB-4D3F-9E8B-B8C2DFEA036B}"/>
          </ac:cxnSpMkLst>
        </pc:cxnChg>
        <pc:cxnChg chg="add mod">
          <ac:chgData name="Luiz Macedo" userId="7b3c29be-d15f-473b-8b79-40ce79eed9b8" providerId="ADAL" clId="{6012430E-18C6-4497-8D0D-42C74A04A357}" dt="2022-01-07T21:37:09.643" v="167" actId="1038"/>
          <ac:cxnSpMkLst>
            <pc:docMk/>
            <pc:sldMk cId="591348677" sldId="1941"/>
            <ac:cxnSpMk id="10" creationId="{8B457200-F786-4DCD-AEA8-D09FD82EA62B}"/>
          </ac:cxnSpMkLst>
        </pc:cxnChg>
        <pc:cxnChg chg="mod">
          <ac:chgData name="Luiz Macedo" userId="7b3c29be-d15f-473b-8b79-40ce79eed9b8" providerId="ADAL" clId="{6012430E-18C6-4497-8D0D-42C74A04A357}" dt="2022-01-07T21:36:50.666" v="161" actId="1036"/>
          <ac:cxnSpMkLst>
            <pc:docMk/>
            <pc:sldMk cId="591348677" sldId="1941"/>
            <ac:cxnSpMk id="18" creationId="{8C35B81A-491C-42F8-874F-13B44EE9281A}"/>
          </ac:cxnSpMkLst>
        </pc:cxnChg>
        <pc:cxnChg chg="mod">
          <ac:chgData name="Luiz Macedo" userId="7b3c29be-d15f-473b-8b79-40ce79eed9b8" providerId="ADAL" clId="{6012430E-18C6-4497-8D0D-42C74A04A357}" dt="2022-01-07T21:36:50.666" v="161" actId="1036"/>
          <ac:cxnSpMkLst>
            <pc:docMk/>
            <pc:sldMk cId="591348677" sldId="1941"/>
            <ac:cxnSpMk id="20" creationId="{6182C732-CBBB-4A5A-833F-EC1047B7813E}"/>
          </ac:cxnSpMkLst>
        </pc:cxnChg>
        <pc:cxnChg chg="mod">
          <ac:chgData name="Luiz Macedo" userId="7b3c29be-d15f-473b-8b79-40ce79eed9b8" providerId="ADAL" clId="{6012430E-18C6-4497-8D0D-42C74A04A357}" dt="2022-01-07T21:36:50.666" v="161" actId="1036"/>
          <ac:cxnSpMkLst>
            <pc:docMk/>
            <pc:sldMk cId="591348677" sldId="1941"/>
            <ac:cxnSpMk id="21" creationId="{D12F2B9E-82FE-4895-BAD9-87436DBCA0D6}"/>
          </ac:cxnSpMkLst>
        </pc:cxnChg>
        <pc:cxnChg chg="mod">
          <ac:chgData name="Luiz Macedo" userId="7b3c29be-d15f-473b-8b79-40ce79eed9b8" providerId="ADAL" clId="{6012430E-18C6-4497-8D0D-42C74A04A357}" dt="2022-01-07T21:36:50.666" v="161" actId="1036"/>
          <ac:cxnSpMkLst>
            <pc:docMk/>
            <pc:sldMk cId="591348677" sldId="1941"/>
            <ac:cxnSpMk id="22" creationId="{B615E248-BD55-4C6F-8932-138A1C36097B}"/>
          </ac:cxnSpMkLst>
        </pc:cxnChg>
        <pc:cxnChg chg="mod">
          <ac:chgData name="Luiz Macedo" userId="7b3c29be-d15f-473b-8b79-40ce79eed9b8" providerId="ADAL" clId="{6012430E-18C6-4497-8D0D-42C74A04A357}" dt="2022-01-07T21:36:59.126" v="162" actId="1076"/>
          <ac:cxnSpMkLst>
            <pc:docMk/>
            <pc:sldMk cId="591348677" sldId="1941"/>
            <ac:cxnSpMk id="23" creationId="{4F16E1EE-22A4-49A1-89E8-35F463CFAFEC}"/>
          </ac:cxnSpMkLst>
        </pc:cxnChg>
      </pc:sldChg>
      <pc:sldChg chg="modSp add mod">
        <pc:chgData name="Luiz Macedo" userId="7b3c29be-d15f-473b-8b79-40ce79eed9b8" providerId="ADAL" clId="{6012430E-18C6-4497-8D0D-42C74A04A357}" dt="2022-01-07T21:50:00.897" v="399"/>
        <pc:sldMkLst>
          <pc:docMk/>
          <pc:sldMk cId="1024414060" sldId="1949"/>
        </pc:sldMkLst>
        <pc:spChg chg="mod">
          <ac:chgData name="Luiz Macedo" userId="7b3c29be-d15f-473b-8b79-40ce79eed9b8" providerId="ADAL" clId="{6012430E-18C6-4497-8D0D-42C74A04A357}" dt="2022-01-07T21:50:00.897" v="399"/>
          <ac:spMkLst>
            <pc:docMk/>
            <pc:sldMk cId="1024414060" sldId="1949"/>
            <ac:spMk id="4" creationId="{0CD8665D-5A50-4F07-9D33-48CCD3FD74C7}"/>
          </ac:spMkLst>
        </pc:spChg>
      </pc:sldChg>
      <pc:sldChg chg="modSp add mod">
        <pc:chgData name="Luiz Macedo" userId="7b3c29be-d15f-473b-8b79-40ce79eed9b8" providerId="ADAL" clId="{6012430E-18C6-4497-8D0D-42C74A04A357}" dt="2022-01-07T21:50:24.788" v="400"/>
        <pc:sldMkLst>
          <pc:docMk/>
          <pc:sldMk cId="2334485022" sldId="1950"/>
        </pc:sldMkLst>
        <pc:spChg chg="mod">
          <ac:chgData name="Luiz Macedo" userId="7b3c29be-d15f-473b-8b79-40ce79eed9b8" providerId="ADAL" clId="{6012430E-18C6-4497-8D0D-42C74A04A357}" dt="2022-01-07T21:50:24.788" v="400"/>
          <ac:spMkLst>
            <pc:docMk/>
            <pc:sldMk cId="2334485022" sldId="1950"/>
            <ac:spMk id="2" creationId="{5EE9844D-7543-4B89-A10F-D42A46F7CFF0}"/>
          </ac:spMkLst>
        </pc:spChg>
      </pc:sldChg>
      <pc:sldChg chg="modSp add mod">
        <pc:chgData name="Luiz Macedo" userId="7b3c29be-d15f-473b-8b79-40ce79eed9b8" providerId="ADAL" clId="{6012430E-18C6-4497-8D0D-42C74A04A357}" dt="2022-01-07T21:50:35.892" v="403" actId="1076"/>
        <pc:sldMkLst>
          <pc:docMk/>
          <pc:sldMk cId="59849674" sldId="1951"/>
        </pc:sldMkLst>
        <pc:spChg chg="mod">
          <ac:chgData name="Luiz Macedo" userId="7b3c29be-d15f-473b-8b79-40ce79eed9b8" providerId="ADAL" clId="{6012430E-18C6-4497-8D0D-42C74A04A357}" dt="2022-01-07T21:50:32.722" v="401"/>
          <ac:spMkLst>
            <pc:docMk/>
            <pc:sldMk cId="59849674" sldId="1951"/>
            <ac:spMk id="2" creationId="{567112AF-7AE2-4197-9F38-40C40BC380CE}"/>
          </ac:spMkLst>
        </pc:spChg>
        <pc:picChg chg="mod">
          <ac:chgData name="Luiz Macedo" userId="7b3c29be-d15f-473b-8b79-40ce79eed9b8" providerId="ADAL" clId="{6012430E-18C6-4497-8D0D-42C74A04A357}" dt="2022-01-07T21:50:35.892" v="403" actId="1076"/>
          <ac:picMkLst>
            <pc:docMk/>
            <pc:sldMk cId="59849674" sldId="1951"/>
            <ac:picMk id="16" creationId="{698497F6-2819-4BA1-96FC-64D374D0C8E7}"/>
          </ac:picMkLst>
        </pc:picChg>
      </pc:sldChg>
      <pc:sldChg chg="modSp add mod">
        <pc:chgData name="Luiz Macedo" userId="7b3c29be-d15f-473b-8b79-40ce79eed9b8" providerId="ADAL" clId="{6012430E-18C6-4497-8D0D-42C74A04A357}" dt="2022-01-07T21:50:52.533" v="411" actId="1036"/>
        <pc:sldMkLst>
          <pc:docMk/>
          <pc:sldMk cId="3981396567" sldId="1952"/>
        </pc:sldMkLst>
        <pc:spChg chg="mod">
          <ac:chgData name="Luiz Macedo" userId="7b3c29be-d15f-473b-8b79-40ce79eed9b8" providerId="ADAL" clId="{6012430E-18C6-4497-8D0D-42C74A04A357}" dt="2022-01-07T21:50:47.247" v="404"/>
          <ac:spMkLst>
            <pc:docMk/>
            <pc:sldMk cId="3981396567" sldId="1952"/>
            <ac:spMk id="2" creationId="{D0C9A83E-5AFF-4387-92E5-0F955CEA14F7}"/>
          </ac:spMkLst>
        </pc:spChg>
        <pc:spChg chg="mod">
          <ac:chgData name="Luiz Macedo" userId="7b3c29be-d15f-473b-8b79-40ce79eed9b8" providerId="ADAL" clId="{6012430E-18C6-4497-8D0D-42C74A04A357}" dt="2022-01-07T21:50:52.533" v="411" actId="1036"/>
          <ac:spMkLst>
            <pc:docMk/>
            <pc:sldMk cId="3981396567" sldId="1952"/>
            <ac:spMk id="4" creationId="{A234402E-FD7C-4242-85EA-6ACAE732E2FD}"/>
          </ac:spMkLst>
        </pc:spChg>
        <pc:spChg chg="mod">
          <ac:chgData name="Luiz Macedo" userId="7b3c29be-d15f-473b-8b79-40ce79eed9b8" providerId="ADAL" clId="{6012430E-18C6-4497-8D0D-42C74A04A357}" dt="2022-01-07T21:50:52.533" v="411" actId="1036"/>
          <ac:spMkLst>
            <pc:docMk/>
            <pc:sldMk cId="3981396567" sldId="1952"/>
            <ac:spMk id="5" creationId="{E5F7B95A-E382-451C-9D99-7C949FF25D44}"/>
          </ac:spMkLst>
        </pc:spChg>
        <pc:spChg chg="mod">
          <ac:chgData name="Luiz Macedo" userId="7b3c29be-d15f-473b-8b79-40ce79eed9b8" providerId="ADAL" clId="{6012430E-18C6-4497-8D0D-42C74A04A357}" dt="2022-01-07T21:50:52.533" v="411" actId="1036"/>
          <ac:spMkLst>
            <pc:docMk/>
            <pc:sldMk cId="3981396567" sldId="1952"/>
            <ac:spMk id="6" creationId="{3C5F2AF5-E8F7-45BC-BF9D-59CA72BCEEED}"/>
          </ac:spMkLst>
        </pc:spChg>
        <pc:spChg chg="mod">
          <ac:chgData name="Luiz Macedo" userId="7b3c29be-d15f-473b-8b79-40ce79eed9b8" providerId="ADAL" clId="{6012430E-18C6-4497-8D0D-42C74A04A357}" dt="2022-01-07T21:50:52.533" v="411" actId="1036"/>
          <ac:spMkLst>
            <pc:docMk/>
            <pc:sldMk cId="3981396567" sldId="1952"/>
            <ac:spMk id="7" creationId="{65DC0EC4-A80B-4D6F-8CAA-1A5F3AC8C3E5}"/>
          </ac:spMkLst>
        </pc:spChg>
        <pc:spChg chg="mod">
          <ac:chgData name="Luiz Macedo" userId="7b3c29be-d15f-473b-8b79-40ce79eed9b8" providerId="ADAL" clId="{6012430E-18C6-4497-8D0D-42C74A04A357}" dt="2022-01-07T21:50:52.533" v="411" actId="1036"/>
          <ac:spMkLst>
            <pc:docMk/>
            <pc:sldMk cId="3981396567" sldId="1952"/>
            <ac:spMk id="8" creationId="{EFB2E42B-54CC-421B-93D2-35157FE21B23}"/>
          </ac:spMkLst>
        </pc:spChg>
        <pc:picChg chg="mod">
          <ac:chgData name="Luiz Macedo" userId="7b3c29be-d15f-473b-8b79-40ce79eed9b8" providerId="ADAL" clId="{6012430E-18C6-4497-8D0D-42C74A04A357}" dt="2022-01-07T21:50:52.533" v="411" actId="1036"/>
          <ac:picMkLst>
            <pc:docMk/>
            <pc:sldMk cId="3981396567" sldId="1952"/>
            <ac:picMk id="12" creationId="{43B22573-61B9-433B-8102-80F113C55DC0}"/>
          </ac:picMkLst>
        </pc:picChg>
        <pc:picChg chg="mod">
          <ac:chgData name="Luiz Macedo" userId="7b3c29be-d15f-473b-8b79-40ce79eed9b8" providerId="ADAL" clId="{6012430E-18C6-4497-8D0D-42C74A04A357}" dt="2022-01-07T21:50:52.533" v="411" actId="1036"/>
          <ac:picMkLst>
            <pc:docMk/>
            <pc:sldMk cId="3981396567" sldId="1952"/>
            <ac:picMk id="40" creationId="{2B4CB5E3-E61C-4819-8148-3FD58770EFC6}"/>
          </ac:picMkLst>
        </pc:picChg>
        <pc:picChg chg="mod">
          <ac:chgData name="Luiz Macedo" userId="7b3c29be-d15f-473b-8b79-40ce79eed9b8" providerId="ADAL" clId="{6012430E-18C6-4497-8D0D-42C74A04A357}" dt="2022-01-07T21:50:52.533" v="411" actId="1036"/>
          <ac:picMkLst>
            <pc:docMk/>
            <pc:sldMk cId="3981396567" sldId="1952"/>
            <ac:picMk id="43" creationId="{0A516DB2-BD79-40E3-9312-6018B5DFF005}"/>
          </ac:picMkLst>
        </pc:picChg>
        <pc:picChg chg="mod">
          <ac:chgData name="Luiz Macedo" userId="7b3c29be-d15f-473b-8b79-40ce79eed9b8" providerId="ADAL" clId="{6012430E-18C6-4497-8D0D-42C74A04A357}" dt="2022-01-07T21:50:52.533" v="411" actId="1036"/>
          <ac:picMkLst>
            <pc:docMk/>
            <pc:sldMk cId="3981396567" sldId="1952"/>
            <ac:picMk id="46" creationId="{8BF0C6D0-8BB3-40C1-978E-65007C224951}"/>
          </ac:picMkLst>
        </pc:picChg>
        <pc:picChg chg="mod">
          <ac:chgData name="Luiz Macedo" userId="7b3c29be-d15f-473b-8b79-40ce79eed9b8" providerId="ADAL" clId="{6012430E-18C6-4497-8D0D-42C74A04A357}" dt="2022-01-07T21:50:52.533" v="411" actId="1036"/>
          <ac:picMkLst>
            <pc:docMk/>
            <pc:sldMk cId="3981396567" sldId="1952"/>
            <ac:picMk id="47" creationId="{CB660C30-7C86-4153-96A9-8B51A38A045A}"/>
          </ac:picMkLst>
        </pc:picChg>
        <pc:cxnChg chg="mod">
          <ac:chgData name="Luiz Macedo" userId="7b3c29be-d15f-473b-8b79-40ce79eed9b8" providerId="ADAL" clId="{6012430E-18C6-4497-8D0D-42C74A04A357}" dt="2022-01-07T21:50:52.533" v="411" actId="1036"/>
          <ac:cxnSpMkLst>
            <pc:docMk/>
            <pc:sldMk cId="3981396567" sldId="1952"/>
            <ac:cxnSpMk id="18" creationId="{21039F9E-D4AC-40CC-8BCF-6776A27D5335}"/>
          </ac:cxnSpMkLst>
        </pc:cxnChg>
        <pc:cxnChg chg="mod">
          <ac:chgData name="Luiz Macedo" userId="7b3c29be-d15f-473b-8b79-40ce79eed9b8" providerId="ADAL" clId="{6012430E-18C6-4497-8D0D-42C74A04A357}" dt="2022-01-07T21:50:52.533" v="411" actId="1036"/>
          <ac:cxnSpMkLst>
            <pc:docMk/>
            <pc:sldMk cId="3981396567" sldId="1952"/>
            <ac:cxnSpMk id="20" creationId="{D95C6E39-01D1-46AB-A167-C656818E4BD6}"/>
          </ac:cxnSpMkLst>
        </pc:cxnChg>
        <pc:cxnChg chg="mod">
          <ac:chgData name="Luiz Macedo" userId="7b3c29be-d15f-473b-8b79-40ce79eed9b8" providerId="ADAL" clId="{6012430E-18C6-4497-8D0D-42C74A04A357}" dt="2022-01-07T21:50:52.533" v="411" actId="1036"/>
          <ac:cxnSpMkLst>
            <pc:docMk/>
            <pc:sldMk cId="3981396567" sldId="1952"/>
            <ac:cxnSpMk id="21" creationId="{2C7EB4D8-CA92-41E8-8CE3-3AB4A9D88BDF}"/>
          </ac:cxnSpMkLst>
        </pc:cxnChg>
        <pc:cxnChg chg="mod">
          <ac:chgData name="Luiz Macedo" userId="7b3c29be-d15f-473b-8b79-40ce79eed9b8" providerId="ADAL" clId="{6012430E-18C6-4497-8D0D-42C74A04A357}" dt="2022-01-07T21:50:52.533" v="411" actId="1036"/>
          <ac:cxnSpMkLst>
            <pc:docMk/>
            <pc:sldMk cId="3981396567" sldId="1952"/>
            <ac:cxnSpMk id="22" creationId="{FBB9869A-0F53-4528-9DDA-A5BABDCF98A0}"/>
          </ac:cxnSpMkLst>
        </pc:cxnChg>
      </pc:sldChg>
      <pc:sldChg chg="modSp mod">
        <pc:chgData name="Luiz Macedo" userId="7b3c29be-d15f-473b-8b79-40ce79eed9b8" providerId="ADAL" clId="{6012430E-18C6-4497-8D0D-42C74A04A357}" dt="2022-01-07T21:28:05.535" v="6"/>
        <pc:sldMkLst>
          <pc:docMk/>
          <pc:sldMk cId="3060697331" sldId="1953"/>
        </pc:sldMkLst>
        <pc:spChg chg="mod">
          <ac:chgData name="Luiz Macedo" userId="7b3c29be-d15f-473b-8b79-40ce79eed9b8" providerId="ADAL" clId="{6012430E-18C6-4497-8D0D-42C74A04A357}" dt="2022-01-07T21:28:05.535" v="6"/>
          <ac:spMkLst>
            <pc:docMk/>
            <pc:sldMk cId="3060697331" sldId="1953"/>
            <ac:spMk id="4" creationId="{0CD8665D-5A50-4F07-9D33-48CCD3FD74C7}"/>
          </ac:spMkLst>
        </pc:spChg>
      </pc:sldChg>
      <pc:sldChg chg="addSp delSp modSp mod">
        <pc:chgData name="Luiz Macedo" userId="7b3c29be-d15f-473b-8b79-40ce79eed9b8" providerId="ADAL" clId="{6012430E-18C6-4497-8D0D-42C74A04A357}" dt="2022-01-07T21:34:45.061" v="123" actId="1076"/>
        <pc:sldMkLst>
          <pc:docMk/>
          <pc:sldMk cId="1663750524" sldId="1954"/>
        </pc:sldMkLst>
        <pc:spChg chg="add del mod">
          <ac:chgData name="Luiz Macedo" userId="7b3c29be-d15f-473b-8b79-40ce79eed9b8" providerId="ADAL" clId="{6012430E-18C6-4497-8D0D-42C74A04A357}" dt="2022-01-07T21:33:20.202" v="90" actId="478"/>
          <ac:spMkLst>
            <pc:docMk/>
            <pc:sldMk cId="1663750524" sldId="1954"/>
            <ac:spMk id="5" creationId="{444E849F-64A4-45E5-BF32-1EDC9D7002D1}"/>
          </ac:spMkLst>
        </pc:spChg>
        <pc:spChg chg="add mod">
          <ac:chgData name="Luiz Macedo" userId="7b3c29be-d15f-473b-8b79-40ce79eed9b8" providerId="ADAL" clId="{6012430E-18C6-4497-8D0D-42C74A04A357}" dt="2022-01-07T21:33:36.316" v="97" actId="20577"/>
          <ac:spMkLst>
            <pc:docMk/>
            <pc:sldMk cId="1663750524" sldId="1954"/>
            <ac:spMk id="8" creationId="{9F2DDDB0-CA64-4FA3-BBA0-391321E3EE35}"/>
          </ac:spMkLst>
        </pc:spChg>
        <pc:spChg chg="del mod">
          <ac:chgData name="Luiz Macedo" userId="7b3c29be-d15f-473b-8b79-40ce79eed9b8" providerId="ADAL" clId="{6012430E-18C6-4497-8D0D-42C74A04A357}" dt="2022-01-07T21:33:20.202" v="90" actId="478"/>
          <ac:spMkLst>
            <pc:docMk/>
            <pc:sldMk cId="1663750524" sldId="1954"/>
            <ac:spMk id="10" creationId="{50E191BE-9945-4369-82A6-AA621E99F5F3}"/>
          </ac:spMkLst>
        </pc:spChg>
        <pc:spChg chg="add mod">
          <ac:chgData name="Luiz Macedo" userId="7b3c29be-d15f-473b-8b79-40ce79eed9b8" providerId="ADAL" clId="{6012430E-18C6-4497-8D0D-42C74A04A357}" dt="2022-01-07T21:33:44.893" v="99" actId="20577"/>
          <ac:spMkLst>
            <pc:docMk/>
            <pc:sldMk cId="1663750524" sldId="1954"/>
            <ac:spMk id="12" creationId="{FEB08A74-440E-448B-85AD-5BE643AAF941}"/>
          </ac:spMkLst>
        </pc:spChg>
        <pc:spChg chg="add mod">
          <ac:chgData name="Luiz Macedo" userId="7b3c29be-d15f-473b-8b79-40ce79eed9b8" providerId="ADAL" clId="{6012430E-18C6-4497-8D0D-42C74A04A357}" dt="2022-01-07T21:33:54.009" v="101"/>
          <ac:spMkLst>
            <pc:docMk/>
            <pc:sldMk cId="1663750524" sldId="1954"/>
            <ac:spMk id="15" creationId="{B6FA7B1A-5D29-4DED-99C1-5BEE995BDAB6}"/>
          </ac:spMkLst>
        </pc:spChg>
        <pc:spChg chg="del mod">
          <ac:chgData name="Luiz Macedo" userId="7b3c29be-d15f-473b-8b79-40ce79eed9b8" providerId="ADAL" clId="{6012430E-18C6-4497-8D0D-42C74A04A357}" dt="2022-01-07T21:33:20.202" v="90" actId="478"/>
          <ac:spMkLst>
            <pc:docMk/>
            <pc:sldMk cId="1663750524" sldId="1954"/>
            <ac:spMk id="17" creationId="{97859D3D-5773-49E5-BE23-4B6641F5000C}"/>
          </ac:spMkLst>
        </pc:spChg>
        <pc:spChg chg="del mod">
          <ac:chgData name="Luiz Macedo" userId="7b3c29be-d15f-473b-8b79-40ce79eed9b8" providerId="ADAL" clId="{6012430E-18C6-4497-8D0D-42C74A04A357}" dt="2022-01-07T21:33:20.202" v="90" actId="478"/>
          <ac:spMkLst>
            <pc:docMk/>
            <pc:sldMk cId="1663750524" sldId="1954"/>
            <ac:spMk id="21" creationId="{40A429EB-E9FD-4E6A-9036-69FC9AD140C5}"/>
          </ac:spMkLst>
        </pc:spChg>
        <pc:spChg chg="add mod">
          <ac:chgData name="Luiz Macedo" userId="7b3c29be-d15f-473b-8b79-40ce79eed9b8" providerId="ADAL" clId="{6012430E-18C6-4497-8D0D-42C74A04A357}" dt="2022-01-07T21:34:03.525" v="103"/>
          <ac:spMkLst>
            <pc:docMk/>
            <pc:sldMk cId="1663750524" sldId="1954"/>
            <ac:spMk id="24" creationId="{51D9360F-5C84-4421-B5F5-986F5884ACCE}"/>
          </ac:spMkLst>
        </pc:spChg>
        <pc:spChg chg="del mod">
          <ac:chgData name="Luiz Macedo" userId="7b3c29be-d15f-473b-8b79-40ce79eed9b8" providerId="ADAL" clId="{6012430E-18C6-4497-8D0D-42C74A04A357}" dt="2022-01-07T21:33:20.202" v="90" actId="478"/>
          <ac:spMkLst>
            <pc:docMk/>
            <pc:sldMk cId="1663750524" sldId="1954"/>
            <ac:spMk id="25" creationId="{AEBE8785-F3DE-4B81-999F-C2103A8AFD65}"/>
          </ac:spMkLst>
        </pc:spChg>
        <pc:spChg chg="del mod">
          <ac:chgData name="Luiz Macedo" userId="7b3c29be-d15f-473b-8b79-40ce79eed9b8" providerId="ADAL" clId="{6012430E-18C6-4497-8D0D-42C74A04A357}" dt="2022-01-07T21:33:20.202" v="90" actId="478"/>
          <ac:spMkLst>
            <pc:docMk/>
            <pc:sldMk cId="1663750524" sldId="1954"/>
            <ac:spMk id="29" creationId="{A3959E0A-9E10-42CA-897C-DC397876A47A}"/>
          </ac:spMkLst>
        </pc:spChg>
        <pc:spChg chg="add mod">
          <ac:chgData name="Luiz Macedo" userId="7b3c29be-d15f-473b-8b79-40ce79eed9b8" providerId="ADAL" clId="{6012430E-18C6-4497-8D0D-42C74A04A357}" dt="2022-01-07T21:34:31.205" v="119"/>
          <ac:spMkLst>
            <pc:docMk/>
            <pc:sldMk cId="1663750524" sldId="1954"/>
            <ac:spMk id="32" creationId="{31E90334-DDC9-48A4-A42A-AF0FD6D7B52C}"/>
          </ac:spMkLst>
        </pc:spChg>
        <pc:spChg chg="add del mod">
          <ac:chgData name="Luiz Macedo" userId="7b3c29be-d15f-473b-8b79-40ce79eed9b8" providerId="ADAL" clId="{6012430E-18C6-4497-8D0D-42C74A04A357}" dt="2022-01-07T21:34:20.736" v="114" actId="478"/>
          <ac:spMkLst>
            <pc:docMk/>
            <pc:sldMk cId="1663750524" sldId="1954"/>
            <ac:spMk id="46" creationId="{B25E9408-4A33-46B6-8898-27FE097E8F17}"/>
          </ac:spMkLst>
        </pc:spChg>
        <pc:spChg chg="add del mod">
          <ac:chgData name="Luiz Macedo" userId="7b3c29be-d15f-473b-8b79-40ce79eed9b8" providerId="ADAL" clId="{6012430E-18C6-4497-8D0D-42C74A04A357}" dt="2022-01-07T21:34:36.110" v="121" actId="478"/>
          <ac:spMkLst>
            <pc:docMk/>
            <pc:sldMk cId="1663750524" sldId="1954"/>
            <ac:spMk id="52" creationId="{6FFC6B92-4E97-4CCC-843D-626713C59DF4}"/>
          </ac:spMkLst>
        </pc:spChg>
        <pc:spChg chg="add mod">
          <ac:chgData name="Luiz Macedo" userId="7b3c29be-d15f-473b-8b79-40ce79eed9b8" providerId="ADAL" clId="{6012430E-18C6-4497-8D0D-42C74A04A357}" dt="2022-01-07T21:34:45.061" v="123" actId="1076"/>
          <ac:spMkLst>
            <pc:docMk/>
            <pc:sldMk cId="1663750524" sldId="1954"/>
            <ac:spMk id="58" creationId="{F6D8E6AE-732E-411B-9C83-4D1C2A0A6F09}"/>
          </ac:spMkLst>
        </pc:spChg>
        <pc:spChg chg="add mod">
          <ac:chgData name="Luiz Macedo" userId="7b3c29be-d15f-473b-8b79-40ce79eed9b8" providerId="ADAL" clId="{6012430E-18C6-4497-8D0D-42C74A04A357}" dt="2022-01-07T21:34:17.458" v="113"/>
          <ac:spMkLst>
            <pc:docMk/>
            <pc:sldMk cId="1663750524" sldId="1954"/>
            <ac:spMk id="60" creationId="{C87D1C38-7742-4147-BF25-A6D25ADCBAD0}"/>
          </ac:spMkLst>
        </pc:spChg>
        <pc:picChg chg="del mod">
          <ac:chgData name="Luiz Macedo" userId="7b3c29be-d15f-473b-8b79-40ce79eed9b8" providerId="ADAL" clId="{6012430E-18C6-4497-8D0D-42C74A04A357}" dt="2022-01-07T21:33:22.716" v="91" actId="478"/>
          <ac:picMkLst>
            <pc:docMk/>
            <pc:sldMk cId="1663750524" sldId="1954"/>
            <ac:picMk id="3" creationId="{A9FA9F41-FAF1-4C51-A3FA-F1555BE037CB}"/>
          </ac:picMkLst>
        </pc:picChg>
        <pc:picChg chg="add del mod">
          <ac:chgData name="Luiz Macedo" userId="7b3c29be-d15f-473b-8b79-40ce79eed9b8" providerId="ADAL" clId="{6012430E-18C6-4497-8D0D-42C74A04A357}" dt="2022-01-07T21:33:20.202" v="90" actId="478"/>
          <ac:picMkLst>
            <pc:docMk/>
            <pc:sldMk cId="1663750524" sldId="1954"/>
            <ac:picMk id="4" creationId="{932DC361-C2FC-49B4-BF47-9C0DE61F6FCD}"/>
          </ac:picMkLst>
        </pc:picChg>
        <pc:picChg chg="add mod">
          <ac:chgData name="Luiz Macedo" userId="7b3c29be-d15f-473b-8b79-40ce79eed9b8" providerId="ADAL" clId="{6012430E-18C6-4497-8D0D-42C74A04A357}" dt="2022-01-07T21:33:26.399" v="93" actId="1076"/>
          <ac:picMkLst>
            <pc:docMk/>
            <pc:sldMk cId="1663750524" sldId="1954"/>
            <ac:picMk id="7" creationId="{65DAB841-5E62-45E1-AEB3-228C143E7EEA}"/>
          </ac:picMkLst>
        </pc:picChg>
        <pc:picChg chg="add mod">
          <ac:chgData name="Luiz Macedo" userId="7b3c29be-d15f-473b-8b79-40ce79eed9b8" providerId="ADAL" clId="{6012430E-18C6-4497-8D0D-42C74A04A357}" dt="2022-01-07T21:33:26.399" v="93" actId="1076"/>
          <ac:picMkLst>
            <pc:docMk/>
            <pc:sldMk cId="1663750524" sldId="1954"/>
            <ac:picMk id="11" creationId="{74E1544F-E5D3-4789-9136-63BE45C2BAEA}"/>
          </ac:picMkLst>
        </pc:picChg>
        <pc:picChg chg="add mod">
          <ac:chgData name="Luiz Macedo" userId="7b3c29be-d15f-473b-8b79-40ce79eed9b8" providerId="ADAL" clId="{6012430E-18C6-4497-8D0D-42C74A04A357}" dt="2022-01-07T21:33:26.399" v="93" actId="1076"/>
          <ac:picMkLst>
            <pc:docMk/>
            <pc:sldMk cId="1663750524" sldId="1954"/>
            <ac:picMk id="14" creationId="{2EB63ACB-F6CC-401F-B1A2-6F78C1959F1C}"/>
          </ac:picMkLst>
        </pc:picChg>
        <pc:picChg chg="add mod">
          <ac:chgData name="Luiz Macedo" userId="7b3c29be-d15f-473b-8b79-40ce79eed9b8" providerId="ADAL" clId="{6012430E-18C6-4497-8D0D-42C74A04A357}" dt="2022-01-07T21:33:26.399" v="93" actId="1076"/>
          <ac:picMkLst>
            <pc:docMk/>
            <pc:sldMk cId="1663750524" sldId="1954"/>
            <ac:picMk id="20" creationId="{FD8BFBFF-D84E-41B7-9E97-CC0B6F13048B}"/>
          </ac:picMkLst>
        </pc:picChg>
        <pc:picChg chg="add del mod">
          <ac:chgData name="Luiz Macedo" userId="7b3c29be-d15f-473b-8b79-40ce79eed9b8" providerId="ADAL" clId="{6012430E-18C6-4497-8D0D-42C74A04A357}" dt="2022-01-07T21:34:20.736" v="114" actId="478"/>
          <ac:picMkLst>
            <pc:docMk/>
            <pc:sldMk cId="1663750524" sldId="1954"/>
            <ac:picMk id="28" creationId="{BBA7250A-E35A-47EB-945C-D55EDBCB96CD}"/>
          </ac:picMkLst>
        </pc:picChg>
        <pc:picChg chg="add mod">
          <ac:chgData name="Luiz Macedo" userId="7b3c29be-d15f-473b-8b79-40ce79eed9b8" providerId="ADAL" clId="{6012430E-18C6-4497-8D0D-42C74A04A357}" dt="2022-01-07T21:33:26.399" v="93" actId="1076"/>
          <ac:picMkLst>
            <pc:docMk/>
            <pc:sldMk cId="1663750524" sldId="1954"/>
            <ac:picMk id="44" creationId="{5CA5FCF1-5768-4E95-BD61-CFB7EA00C990}"/>
          </ac:picMkLst>
        </pc:picChg>
        <pc:picChg chg="add mod">
          <ac:chgData name="Luiz Macedo" userId="7b3c29be-d15f-473b-8b79-40ce79eed9b8" providerId="ADAL" clId="{6012430E-18C6-4497-8D0D-42C74A04A357}" dt="2022-01-07T21:34:45.061" v="123" actId="1076"/>
          <ac:picMkLst>
            <pc:docMk/>
            <pc:sldMk cId="1663750524" sldId="1954"/>
            <ac:picMk id="50" creationId="{20C042A6-9FA6-4B8F-B3EC-FE5BDDFE0355}"/>
          </ac:picMkLst>
        </pc:picChg>
        <pc:picChg chg="add del mod">
          <ac:chgData name="Luiz Macedo" userId="7b3c29be-d15f-473b-8b79-40ce79eed9b8" providerId="ADAL" clId="{6012430E-18C6-4497-8D0D-42C74A04A357}" dt="2022-01-07T21:34:35.592" v="120" actId="478"/>
          <ac:picMkLst>
            <pc:docMk/>
            <pc:sldMk cId="1663750524" sldId="1954"/>
            <ac:picMk id="56" creationId="{0214D8AE-D901-42BA-B56E-C2C84A1E5D5C}"/>
          </ac:picMkLst>
        </pc:picChg>
        <pc:picChg chg="add mod">
          <ac:chgData name="Luiz Macedo" userId="7b3c29be-d15f-473b-8b79-40ce79eed9b8" providerId="ADAL" clId="{6012430E-18C6-4497-8D0D-42C74A04A357}" dt="2022-01-07T21:33:26.399" v="93" actId="1076"/>
          <ac:picMkLst>
            <pc:docMk/>
            <pc:sldMk cId="1663750524" sldId="1954"/>
            <ac:picMk id="62" creationId="{52372D86-B7FF-4192-BB0D-AA4B864414B3}"/>
          </ac:picMkLst>
        </pc:picChg>
        <pc:picChg chg="del mod">
          <ac:chgData name="Luiz Macedo" userId="7b3c29be-d15f-473b-8b79-40ce79eed9b8" providerId="ADAL" clId="{6012430E-18C6-4497-8D0D-42C74A04A357}" dt="2022-01-07T21:33:20.202" v="90" actId="478"/>
          <ac:picMkLst>
            <pc:docMk/>
            <pc:sldMk cId="1663750524" sldId="1954"/>
            <ac:picMk id="75" creationId="{D0010025-0906-410E-8962-A80D28D38F59}"/>
          </ac:picMkLst>
        </pc:picChg>
        <pc:picChg chg="del mod">
          <ac:chgData name="Luiz Macedo" userId="7b3c29be-d15f-473b-8b79-40ce79eed9b8" providerId="ADAL" clId="{6012430E-18C6-4497-8D0D-42C74A04A357}" dt="2022-01-07T21:33:22.716" v="91" actId="478"/>
          <ac:picMkLst>
            <pc:docMk/>
            <pc:sldMk cId="1663750524" sldId="1954"/>
            <ac:picMk id="76" creationId="{928A0E72-EA16-4C03-8336-19496A2F27C0}"/>
          </ac:picMkLst>
        </pc:picChg>
        <pc:picChg chg="del mod">
          <ac:chgData name="Luiz Macedo" userId="7b3c29be-d15f-473b-8b79-40ce79eed9b8" providerId="ADAL" clId="{6012430E-18C6-4497-8D0D-42C74A04A357}" dt="2022-01-07T21:33:20.202" v="90" actId="478"/>
          <ac:picMkLst>
            <pc:docMk/>
            <pc:sldMk cId="1663750524" sldId="1954"/>
            <ac:picMk id="77" creationId="{B6E0C686-1506-4A16-8432-38CBE5636F08}"/>
          </ac:picMkLst>
        </pc:picChg>
        <pc:picChg chg="del mod">
          <ac:chgData name="Luiz Macedo" userId="7b3c29be-d15f-473b-8b79-40ce79eed9b8" providerId="ADAL" clId="{6012430E-18C6-4497-8D0D-42C74A04A357}" dt="2022-01-07T21:33:20.202" v="90" actId="478"/>
          <ac:picMkLst>
            <pc:docMk/>
            <pc:sldMk cId="1663750524" sldId="1954"/>
            <ac:picMk id="78" creationId="{95228679-BE4B-48BC-A653-9170CFB61973}"/>
          </ac:picMkLst>
        </pc:picChg>
        <pc:cxnChg chg="add del mod">
          <ac:chgData name="Luiz Macedo" userId="7b3c29be-d15f-473b-8b79-40ce79eed9b8" providerId="ADAL" clId="{6012430E-18C6-4497-8D0D-42C74A04A357}" dt="2022-01-07T21:33:20.202" v="90" actId="478"/>
          <ac:cxnSpMkLst>
            <pc:docMk/>
            <pc:sldMk cId="1663750524" sldId="1954"/>
            <ac:cxnSpMk id="6" creationId="{E4C4DE3E-9718-4A70-8DF1-64FF240C85F8}"/>
          </ac:cxnSpMkLst>
        </pc:cxnChg>
        <pc:cxnChg chg="add mod">
          <ac:chgData name="Luiz Macedo" userId="7b3c29be-d15f-473b-8b79-40ce79eed9b8" providerId="ADAL" clId="{6012430E-18C6-4497-8D0D-42C74A04A357}" dt="2022-01-07T21:33:26.399" v="93" actId="1076"/>
          <ac:cxnSpMkLst>
            <pc:docMk/>
            <pc:sldMk cId="1663750524" sldId="1954"/>
            <ac:cxnSpMk id="9" creationId="{0EF2D138-49D8-4071-997B-AACDA1E7A48E}"/>
          </ac:cxnSpMkLst>
        </pc:cxnChg>
        <pc:cxnChg chg="add mod">
          <ac:chgData name="Luiz Macedo" userId="7b3c29be-d15f-473b-8b79-40ce79eed9b8" providerId="ADAL" clId="{6012430E-18C6-4497-8D0D-42C74A04A357}" dt="2022-01-07T21:33:26.399" v="93" actId="1076"/>
          <ac:cxnSpMkLst>
            <pc:docMk/>
            <pc:sldMk cId="1663750524" sldId="1954"/>
            <ac:cxnSpMk id="13" creationId="{16AEB0F8-E825-4861-ACFD-66915F91478A}"/>
          </ac:cxnSpMkLst>
        </pc:cxnChg>
        <pc:cxnChg chg="add mod">
          <ac:chgData name="Luiz Macedo" userId="7b3c29be-d15f-473b-8b79-40ce79eed9b8" providerId="ADAL" clId="{6012430E-18C6-4497-8D0D-42C74A04A357}" dt="2022-01-07T21:33:26.399" v="93" actId="1076"/>
          <ac:cxnSpMkLst>
            <pc:docMk/>
            <pc:sldMk cId="1663750524" sldId="1954"/>
            <ac:cxnSpMk id="16" creationId="{2A79AE2A-E2C5-43EA-BF9B-8790E50893C9}"/>
          </ac:cxnSpMkLst>
        </pc:cxnChg>
        <pc:cxnChg chg="del mod">
          <ac:chgData name="Luiz Macedo" userId="7b3c29be-d15f-473b-8b79-40ce79eed9b8" providerId="ADAL" clId="{6012430E-18C6-4497-8D0D-42C74A04A357}" dt="2022-01-07T21:33:20.202" v="90" actId="478"/>
          <ac:cxnSpMkLst>
            <pc:docMk/>
            <pc:sldMk cId="1663750524" sldId="1954"/>
            <ac:cxnSpMk id="33" creationId="{740E2AB2-69D0-4CDB-8247-550E21D08C4E}"/>
          </ac:cxnSpMkLst>
        </pc:cxnChg>
        <pc:cxnChg chg="del mod">
          <ac:chgData name="Luiz Macedo" userId="7b3c29be-d15f-473b-8b79-40ce79eed9b8" providerId="ADAL" clId="{6012430E-18C6-4497-8D0D-42C74A04A357}" dt="2022-01-07T21:33:20.202" v="90" actId="478"/>
          <ac:cxnSpMkLst>
            <pc:docMk/>
            <pc:sldMk cId="1663750524" sldId="1954"/>
            <ac:cxnSpMk id="35" creationId="{2B4EFED9-41C2-4F0F-83FA-94073CAE7A50}"/>
          </ac:cxnSpMkLst>
        </pc:cxnChg>
        <pc:cxnChg chg="del mod">
          <ac:chgData name="Luiz Macedo" userId="7b3c29be-d15f-473b-8b79-40ce79eed9b8" providerId="ADAL" clId="{6012430E-18C6-4497-8D0D-42C74A04A357}" dt="2022-01-07T21:33:20.202" v="90" actId="478"/>
          <ac:cxnSpMkLst>
            <pc:docMk/>
            <pc:sldMk cId="1663750524" sldId="1954"/>
            <ac:cxnSpMk id="36" creationId="{301A5FD8-B682-4584-8D3E-E79487CD0A52}"/>
          </ac:cxnSpMkLst>
        </pc:cxnChg>
        <pc:cxnChg chg="del mod">
          <ac:chgData name="Luiz Macedo" userId="7b3c29be-d15f-473b-8b79-40ce79eed9b8" providerId="ADAL" clId="{6012430E-18C6-4497-8D0D-42C74A04A357}" dt="2022-01-07T21:33:20.202" v="90" actId="478"/>
          <ac:cxnSpMkLst>
            <pc:docMk/>
            <pc:sldMk cId="1663750524" sldId="1954"/>
            <ac:cxnSpMk id="37" creationId="{DE6A13CB-6561-4AE3-86B1-86B0761C968D}"/>
          </ac:cxnSpMkLst>
        </pc:cxnChg>
        <pc:cxnChg chg="add mod">
          <ac:chgData name="Luiz Macedo" userId="7b3c29be-d15f-473b-8b79-40ce79eed9b8" providerId="ADAL" clId="{6012430E-18C6-4497-8D0D-42C74A04A357}" dt="2022-01-07T21:33:26.399" v="93" actId="1076"/>
          <ac:cxnSpMkLst>
            <pc:docMk/>
            <pc:sldMk cId="1663750524" sldId="1954"/>
            <ac:cxnSpMk id="42" creationId="{B15C14FC-BFA4-405E-9B44-4E16D6D33CEB}"/>
          </ac:cxnSpMkLst>
        </pc:cxnChg>
        <pc:cxnChg chg="add mod">
          <ac:chgData name="Luiz Macedo" userId="7b3c29be-d15f-473b-8b79-40ce79eed9b8" providerId="ADAL" clId="{6012430E-18C6-4497-8D0D-42C74A04A357}" dt="2022-01-07T21:33:26.399" v="93" actId="1076"/>
          <ac:cxnSpMkLst>
            <pc:docMk/>
            <pc:sldMk cId="1663750524" sldId="1954"/>
            <ac:cxnSpMk id="48" creationId="{50D19EC6-1E46-4078-898E-472CF777F850}"/>
          </ac:cxnSpMkLst>
        </pc:cxnChg>
        <pc:cxnChg chg="add del mod">
          <ac:chgData name="Luiz Macedo" userId="7b3c29be-d15f-473b-8b79-40ce79eed9b8" providerId="ADAL" clId="{6012430E-18C6-4497-8D0D-42C74A04A357}" dt="2022-01-07T21:34:36.888" v="122" actId="478"/>
          <ac:cxnSpMkLst>
            <pc:docMk/>
            <pc:sldMk cId="1663750524" sldId="1954"/>
            <ac:cxnSpMk id="54" creationId="{F235A9B6-FCA6-4A85-AC01-15A26B5DB523}"/>
          </ac:cxnSpMkLst>
        </pc:cxnChg>
        <pc:cxnChg chg="add del mod">
          <ac:chgData name="Luiz Macedo" userId="7b3c29be-d15f-473b-8b79-40ce79eed9b8" providerId="ADAL" clId="{6012430E-18C6-4497-8D0D-42C74A04A357}" dt="2022-01-07T21:34:21.564" v="115" actId="478"/>
          <ac:cxnSpMkLst>
            <pc:docMk/>
            <pc:sldMk cId="1663750524" sldId="1954"/>
            <ac:cxnSpMk id="64" creationId="{292A35B6-2423-4880-9CBB-67532DD90BEE}"/>
          </ac:cxnSpMkLst>
        </pc:cxnChg>
      </pc:sldChg>
      <pc:sldChg chg="del">
        <pc:chgData name="Luiz Macedo" userId="7b3c29be-d15f-473b-8b79-40ce79eed9b8" providerId="ADAL" clId="{6012430E-18C6-4497-8D0D-42C74A04A357}" dt="2022-01-07T21:37:17.295" v="168" actId="2696"/>
        <pc:sldMkLst>
          <pc:docMk/>
          <pc:sldMk cId="316985794" sldId="1955"/>
        </pc:sldMkLst>
      </pc:sldChg>
      <pc:sldChg chg="modSp add mod">
        <pc:chgData name="Luiz Macedo" userId="7b3c29be-d15f-473b-8b79-40ce79eed9b8" providerId="ADAL" clId="{6012430E-18C6-4497-8D0D-42C74A04A357}" dt="2022-01-07T21:51:19.461" v="414"/>
        <pc:sldMkLst>
          <pc:docMk/>
          <pc:sldMk cId="3465062807" sldId="1955"/>
        </pc:sldMkLst>
        <pc:spChg chg="mod">
          <ac:chgData name="Luiz Macedo" userId="7b3c29be-d15f-473b-8b79-40ce79eed9b8" providerId="ADAL" clId="{6012430E-18C6-4497-8D0D-42C74A04A357}" dt="2022-01-07T21:51:19.461" v="414"/>
          <ac:spMkLst>
            <pc:docMk/>
            <pc:sldMk cId="3465062807" sldId="1955"/>
            <ac:spMk id="2" creationId="{68B12007-FCCD-4CDA-A543-235BA547DD2F}"/>
          </ac:spMkLst>
        </pc:spChg>
      </pc:sldChg>
      <pc:sldChg chg="addSp delSp modSp mod">
        <pc:chgData name="Luiz Macedo" userId="7b3c29be-d15f-473b-8b79-40ce79eed9b8" providerId="ADAL" clId="{6012430E-18C6-4497-8D0D-42C74A04A357}" dt="2022-01-07T21:38:10.879" v="177" actId="1076"/>
        <pc:sldMkLst>
          <pc:docMk/>
          <pc:sldMk cId="3299241507" sldId="1956"/>
        </pc:sldMkLst>
        <pc:spChg chg="add mod">
          <ac:chgData name="Luiz Macedo" userId="7b3c29be-d15f-473b-8b79-40ce79eed9b8" providerId="ADAL" clId="{6012430E-18C6-4497-8D0D-42C74A04A357}" dt="2022-01-07T21:38:10.879" v="177" actId="1076"/>
          <ac:spMkLst>
            <pc:docMk/>
            <pc:sldMk cId="3299241507" sldId="1956"/>
            <ac:spMk id="4" creationId="{669563AC-16F7-42F0-9667-DE39853D8D27}"/>
          </ac:spMkLst>
        </pc:spChg>
        <pc:spChg chg="del">
          <ac:chgData name="Luiz Macedo" userId="7b3c29be-d15f-473b-8b79-40ce79eed9b8" providerId="ADAL" clId="{6012430E-18C6-4497-8D0D-42C74A04A357}" dt="2022-01-07T21:37:53.775" v="171" actId="478"/>
          <ac:spMkLst>
            <pc:docMk/>
            <pc:sldMk cId="3299241507" sldId="1956"/>
            <ac:spMk id="7" creationId="{9A238405-7D71-4EDF-A26A-F6910E94D111}"/>
          </ac:spMkLst>
        </pc:spChg>
        <pc:spChg chg="add mod">
          <ac:chgData name="Luiz Macedo" userId="7b3c29be-d15f-473b-8b79-40ce79eed9b8" providerId="ADAL" clId="{6012430E-18C6-4497-8D0D-42C74A04A357}" dt="2022-01-07T21:38:10.879" v="177" actId="1076"/>
          <ac:spMkLst>
            <pc:docMk/>
            <pc:sldMk cId="3299241507" sldId="1956"/>
            <ac:spMk id="11" creationId="{E682AD94-B9D4-4DFB-AAC0-DC0DA51AFE6E}"/>
          </ac:spMkLst>
        </pc:spChg>
        <pc:spChg chg="del">
          <ac:chgData name="Luiz Macedo" userId="7b3c29be-d15f-473b-8b79-40ce79eed9b8" providerId="ADAL" clId="{6012430E-18C6-4497-8D0D-42C74A04A357}" dt="2022-01-07T21:37:53.775" v="171" actId="478"/>
          <ac:spMkLst>
            <pc:docMk/>
            <pc:sldMk cId="3299241507" sldId="1956"/>
            <ac:spMk id="12" creationId="{BFD6DDE8-66F4-47C3-8A47-E5E9D0E080FF}"/>
          </ac:spMkLst>
        </pc:spChg>
        <pc:spChg chg="add mod">
          <ac:chgData name="Luiz Macedo" userId="7b3c29be-d15f-473b-8b79-40ce79eed9b8" providerId="ADAL" clId="{6012430E-18C6-4497-8D0D-42C74A04A357}" dt="2022-01-07T21:38:10.879" v="177" actId="1076"/>
          <ac:spMkLst>
            <pc:docMk/>
            <pc:sldMk cId="3299241507" sldId="1956"/>
            <ac:spMk id="23" creationId="{F5C64F0E-1FB2-469D-9B12-E02349B93BCC}"/>
          </ac:spMkLst>
        </pc:spChg>
        <pc:spChg chg="add mod">
          <ac:chgData name="Luiz Macedo" userId="7b3c29be-d15f-473b-8b79-40ce79eed9b8" providerId="ADAL" clId="{6012430E-18C6-4497-8D0D-42C74A04A357}" dt="2022-01-07T21:38:10.879" v="177" actId="1076"/>
          <ac:spMkLst>
            <pc:docMk/>
            <pc:sldMk cId="3299241507" sldId="1956"/>
            <ac:spMk id="29" creationId="{6AC64FEE-5D34-45E2-B3E5-D9EE39AE34D6}"/>
          </ac:spMkLst>
        </pc:spChg>
        <pc:spChg chg="add mod">
          <ac:chgData name="Luiz Macedo" userId="7b3c29be-d15f-473b-8b79-40ce79eed9b8" providerId="ADAL" clId="{6012430E-18C6-4497-8D0D-42C74A04A357}" dt="2022-01-07T21:38:10.879" v="177" actId="1076"/>
          <ac:spMkLst>
            <pc:docMk/>
            <pc:sldMk cId="3299241507" sldId="1956"/>
            <ac:spMk id="35" creationId="{A791A304-6221-47BC-863F-407E4273FD59}"/>
          </ac:spMkLst>
        </pc:spChg>
        <pc:spChg chg="add mod">
          <ac:chgData name="Luiz Macedo" userId="7b3c29be-d15f-473b-8b79-40ce79eed9b8" providerId="ADAL" clId="{6012430E-18C6-4497-8D0D-42C74A04A357}" dt="2022-01-07T21:38:10.879" v="177" actId="1076"/>
          <ac:spMkLst>
            <pc:docMk/>
            <pc:sldMk cId="3299241507" sldId="1956"/>
            <ac:spMk id="41" creationId="{7B3CC18F-4027-433B-BDFE-8FBD0D48C67E}"/>
          </ac:spMkLst>
        </pc:spChg>
        <pc:spChg chg="add mod">
          <ac:chgData name="Luiz Macedo" userId="7b3c29be-d15f-473b-8b79-40ce79eed9b8" providerId="ADAL" clId="{6012430E-18C6-4497-8D0D-42C74A04A357}" dt="2022-01-07T21:38:10.879" v="177" actId="1076"/>
          <ac:spMkLst>
            <pc:docMk/>
            <pc:sldMk cId="3299241507" sldId="1956"/>
            <ac:spMk id="45" creationId="{784315CC-18B4-4E99-A573-0AEC07CE559A}"/>
          </ac:spMkLst>
        </pc:spChg>
        <pc:picChg chg="add mod">
          <ac:chgData name="Luiz Macedo" userId="7b3c29be-d15f-473b-8b79-40ce79eed9b8" providerId="ADAL" clId="{6012430E-18C6-4497-8D0D-42C74A04A357}" dt="2022-01-07T21:38:10.879" v="177" actId="1076"/>
          <ac:picMkLst>
            <pc:docMk/>
            <pc:sldMk cId="3299241507" sldId="1956"/>
            <ac:picMk id="3" creationId="{9AD38B0A-2C06-4317-B2AF-17EE47C6BE3A}"/>
          </ac:picMkLst>
        </pc:picChg>
        <pc:picChg chg="add mod">
          <ac:chgData name="Luiz Macedo" userId="7b3c29be-d15f-473b-8b79-40ce79eed9b8" providerId="ADAL" clId="{6012430E-18C6-4497-8D0D-42C74A04A357}" dt="2022-01-07T21:38:10.879" v="177" actId="1076"/>
          <ac:picMkLst>
            <pc:docMk/>
            <pc:sldMk cId="3299241507" sldId="1956"/>
            <ac:picMk id="6" creationId="{CC9AC080-DA33-4888-928B-3F751CD26E20}"/>
          </ac:picMkLst>
        </pc:picChg>
        <pc:picChg chg="add mod">
          <ac:chgData name="Luiz Macedo" userId="7b3c29be-d15f-473b-8b79-40ce79eed9b8" providerId="ADAL" clId="{6012430E-18C6-4497-8D0D-42C74A04A357}" dt="2022-01-07T21:38:10.879" v="177" actId="1076"/>
          <ac:picMkLst>
            <pc:docMk/>
            <pc:sldMk cId="3299241507" sldId="1956"/>
            <ac:picMk id="17" creationId="{15478E77-4B3A-4DD8-ABF7-4574BB173054}"/>
          </ac:picMkLst>
        </pc:picChg>
        <pc:picChg chg="del">
          <ac:chgData name="Luiz Macedo" userId="7b3c29be-d15f-473b-8b79-40ce79eed9b8" providerId="ADAL" clId="{6012430E-18C6-4497-8D0D-42C74A04A357}" dt="2022-01-07T21:37:53.775" v="171" actId="478"/>
          <ac:picMkLst>
            <pc:docMk/>
            <pc:sldMk cId="3299241507" sldId="1956"/>
            <ac:picMk id="19" creationId="{30B5286E-8E65-41BB-B887-239FEC820C1D}"/>
          </ac:picMkLst>
        </pc:picChg>
        <pc:picChg chg="del">
          <ac:chgData name="Luiz Macedo" userId="7b3c29be-d15f-473b-8b79-40ce79eed9b8" providerId="ADAL" clId="{6012430E-18C6-4497-8D0D-42C74A04A357}" dt="2022-01-07T21:37:53.775" v="171" actId="478"/>
          <ac:picMkLst>
            <pc:docMk/>
            <pc:sldMk cId="3299241507" sldId="1956"/>
            <ac:picMk id="20" creationId="{F90DEEBC-4C6B-4380-83A5-600AB32B003B}"/>
          </ac:picMkLst>
        </pc:picChg>
        <pc:picChg chg="add mod">
          <ac:chgData name="Luiz Macedo" userId="7b3c29be-d15f-473b-8b79-40ce79eed9b8" providerId="ADAL" clId="{6012430E-18C6-4497-8D0D-42C74A04A357}" dt="2022-01-07T21:38:10.879" v="177" actId="1076"/>
          <ac:picMkLst>
            <pc:docMk/>
            <pc:sldMk cId="3299241507" sldId="1956"/>
            <ac:picMk id="27" creationId="{033A2FA4-2871-45DA-9B8B-5470EFBE0C93}"/>
          </ac:picMkLst>
        </pc:picChg>
        <pc:picChg chg="add mod">
          <ac:chgData name="Luiz Macedo" userId="7b3c29be-d15f-473b-8b79-40ce79eed9b8" providerId="ADAL" clId="{6012430E-18C6-4497-8D0D-42C74A04A357}" dt="2022-01-07T21:38:10.879" v="177" actId="1076"/>
          <ac:picMkLst>
            <pc:docMk/>
            <pc:sldMk cId="3299241507" sldId="1956"/>
            <ac:picMk id="33" creationId="{68357020-392A-4238-A81D-F93C33429FB8}"/>
          </ac:picMkLst>
        </pc:picChg>
        <pc:picChg chg="add mod">
          <ac:chgData name="Luiz Macedo" userId="7b3c29be-d15f-473b-8b79-40ce79eed9b8" providerId="ADAL" clId="{6012430E-18C6-4497-8D0D-42C74A04A357}" dt="2022-01-07T21:38:10.879" v="177" actId="1076"/>
          <ac:picMkLst>
            <pc:docMk/>
            <pc:sldMk cId="3299241507" sldId="1956"/>
            <ac:picMk id="39" creationId="{70DCE94D-DD20-4628-BA8A-9A963DECBDF7}"/>
          </ac:picMkLst>
        </pc:picChg>
        <pc:picChg chg="add mod">
          <ac:chgData name="Luiz Macedo" userId="7b3c29be-d15f-473b-8b79-40ce79eed9b8" providerId="ADAL" clId="{6012430E-18C6-4497-8D0D-42C74A04A357}" dt="2022-01-07T21:38:10.879" v="177" actId="1076"/>
          <ac:picMkLst>
            <pc:docMk/>
            <pc:sldMk cId="3299241507" sldId="1956"/>
            <ac:picMk id="43" creationId="{B0B610BA-2605-4D58-BD1F-7F49123F13FF}"/>
          </ac:picMkLst>
        </pc:picChg>
        <pc:cxnChg chg="add mod">
          <ac:chgData name="Luiz Macedo" userId="7b3c29be-d15f-473b-8b79-40ce79eed9b8" providerId="ADAL" clId="{6012430E-18C6-4497-8D0D-42C74A04A357}" dt="2022-01-07T21:38:10.879" v="177" actId="1076"/>
          <ac:cxnSpMkLst>
            <pc:docMk/>
            <pc:sldMk cId="3299241507" sldId="1956"/>
            <ac:cxnSpMk id="5" creationId="{0D17D648-6359-460E-B34B-6741AFCC4744}"/>
          </ac:cxnSpMkLst>
        </pc:cxnChg>
        <pc:cxnChg chg="del">
          <ac:chgData name="Luiz Macedo" userId="7b3c29be-d15f-473b-8b79-40ce79eed9b8" providerId="ADAL" clId="{6012430E-18C6-4497-8D0D-42C74A04A357}" dt="2022-01-07T21:37:53.775" v="171" actId="478"/>
          <ac:cxnSpMkLst>
            <pc:docMk/>
            <pc:sldMk cId="3299241507" sldId="1956"/>
            <ac:cxnSpMk id="8" creationId="{B3136CBB-3183-4F4F-9F6F-F09BFD5C54C3}"/>
          </ac:cxnSpMkLst>
        </pc:cxnChg>
        <pc:cxnChg chg="add mod">
          <ac:chgData name="Luiz Macedo" userId="7b3c29be-d15f-473b-8b79-40ce79eed9b8" providerId="ADAL" clId="{6012430E-18C6-4497-8D0D-42C74A04A357}" dt="2022-01-07T21:38:10.879" v="177" actId="1076"/>
          <ac:cxnSpMkLst>
            <pc:docMk/>
            <pc:sldMk cId="3299241507" sldId="1956"/>
            <ac:cxnSpMk id="15" creationId="{633468BD-5046-4C29-A7DE-AB3A9D285309}"/>
          </ac:cxnSpMkLst>
        </pc:cxnChg>
        <pc:cxnChg chg="add mod">
          <ac:chgData name="Luiz Macedo" userId="7b3c29be-d15f-473b-8b79-40ce79eed9b8" providerId="ADAL" clId="{6012430E-18C6-4497-8D0D-42C74A04A357}" dt="2022-01-07T21:38:10.879" v="177" actId="1076"/>
          <ac:cxnSpMkLst>
            <pc:docMk/>
            <pc:sldMk cId="3299241507" sldId="1956"/>
            <ac:cxnSpMk id="25" creationId="{4EF2A9BA-C404-4353-BCDD-CCC3B48A4629}"/>
          </ac:cxnSpMkLst>
        </pc:cxnChg>
        <pc:cxnChg chg="add mod">
          <ac:chgData name="Luiz Macedo" userId="7b3c29be-d15f-473b-8b79-40ce79eed9b8" providerId="ADAL" clId="{6012430E-18C6-4497-8D0D-42C74A04A357}" dt="2022-01-07T21:38:10.879" v="177" actId="1076"/>
          <ac:cxnSpMkLst>
            <pc:docMk/>
            <pc:sldMk cId="3299241507" sldId="1956"/>
            <ac:cxnSpMk id="31" creationId="{665A1789-A91C-46B6-910C-A75BF6223B98}"/>
          </ac:cxnSpMkLst>
        </pc:cxnChg>
        <pc:cxnChg chg="add mod">
          <ac:chgData name="Luiz Macedo" userId="7b3c29be-d15f-473b-8b79-40ce79eed9b8" providerId="ADAL" clId="{6012430E-18C6-4497-8D0D-42C74A04A357}" dt="2022-01-07T21:38:10.879" v="177" actId="1076"/>
          <ac:cxnSpMkLst>
            <pc:docMk/>
            <pc:sldMk cId="3299241507" sldId="1956"/>
            <ac:cxnSpMk id="37" creationId="{E32EA86F-5A06-430A-8FC6-352E2BA83630}"/>
          </ac:cxnSpMkLst>
        </pc:cxnChg>
        <pc:cxnChg chg="add mod">
          <ac:chgData name="Luiz Macedo" userId="7b3c29be-d15f-473b-8b79-40ce79eed9b8" providerId="ADAL" clId="{6012430E-18C6-4497-8D0D-42C74A04A357}" dt="2022-01-07T21:38:10.879" v="177" actId="1076"/>
          <ac:cxnSpMkLst>
            <pc:docMk/>
            <pc:sldMk cId="3299241507" sldId="1956"/>
            <ac:cxnSpMk id="47" creationId="{6126FBC2-235C-446A-A831-F24816A6762D}"/>
          </ac:cxnSpMkLst>
        </pc:cxnChg>
      </pc:sldChg>
      <pc:sldChg chg="modSp mod">
        <pc:chgData name="Luiz Macedo" userId="7b3c29be-d15f-473b-8b79-40ce79eed9b8" providerId="ADAL" clId="{6012430E-18C6-4497-8D0D-42C74A04A357}" dt="2022-01-07T21:38:41.325" v="197" actId="1036"/>
        <pc:sldMkLst>
          <pc:docMk/>
          <pc:sldMk cId="860505324" sldId="1957"/>
        </pc:sldMkLst>
        <pc:spChg chg="mod">
          <ac:chgData name="Luiz Macedo" userId="7b3c29be-d15f-473b-8b79-40ce79eed9b8" providerId="ADAL" clId="{6012430E-18C6-4497-8D0D-42C74A04A357}" dt="2022-01-07T21:38:27.991" v="182" actId="20577"/>
          <ac:spMkLst>
            <pc:docMk/>
            <pc:sldMk cId="860505324" sldId="1957"/>
            <ac:spMk id="2" creationId="{A13C0885-9660-42ED-B074-34059C74AD9F}"/>
          </ac:spMkLst>
        </pc:spChg>
        <pc:spChg chg="mod">
          <ac:chgData name="Luiz Macedo" userId="7b3c29be-d15f-473b-8b79-40ce79eed9b8" providerId="ADAL" clId="{6012430E-18C6-4497-8D0D-42C74A04A357}" dt="2022-01-07T21:38:41.325" v="197" actId="1036"/>
          <ac:spMkLst>
            <pc:docMk/>
            <pc:sldMk cId="860505324" sldId="1957"/>
            <ac:spMk id="15" creationId="{A3FA1B2E-16E8-4B23-ADC0-66F31507546C}"/>
          </ac:spMkLst>
        </pc:spChg>
        <pc:spChg chg="mod">
          <ac:chgData name="Luiz Macedo" userId="7b3c29be-d15f-473b-8b79-40ce79eed9b8" providerId="ADAL" clId="{6012430E-18C6-4497-8D0D-42C74A04A357}" dt="2022-01-07T21:38:41.325" v="197" actId="1036"/>
          <ac:spMkLst>
            <pc:docMk/>
            <pc:sldMk cId="860505324" sldId="1957"/>
            <ac:spMk id="22" creationId="{2B856B06-49DD-4652-A781-7A895BC1634A}"/>
          </ac:spMkLst>
        </pc:spChg>
        <pc:spChg chg="mod">
          <ac:chgData name="Luiz Macedo" userId="7b3c29be-d15f-473b-8b79-40ce79eed9b8" providerId="ADAL" clId="{6012430E-18C6-4497-8D0D-42C74A04A357}" dt="2022-01-07T21:38:41.325" v="197" actId="1036"/>
          <ac:spMkLst>
            <pc:docMk/>
            <pc:sldMk cId="860505324" sldId="1957"/>
            <ac:spMk id="25" creationId="{7FA47316-1F7C-4667-B9AC-134564173D0E}"/>
          </ac:spMkLst>
        </pc:spChg>
        <pc:spChg chg="mod">
          <ac:chgData name="Luiz Macedo" userId="7b3c29be-d15f-473b-8b79-40ce79eed9b8" providerId="ADAL" clId="{6012430E-18C6-4497-8D0D-42C74A04A357}" dt="2022-01-07T21:38:41.325" v="197" actId="1036"/>
          <ac:spMkLst>
            <pc:docMk/>
            <pc:sldMk cId="860505324" sldId="1957"/>
            <ac:spMk id="26" creationId="{CCDF4B6D-926E-462C-8A85-2C183D948130}"/>
          </ac:spMkLst>
        </pc:spChg>
        <pc:spChg chg="mod">
          <ac:chgData name="Luiz Macedo" userId="7b3c29be-d15f-473b-8b79-40ce79eed9b8" providerId="ADAL" clId="{6012430E-18C6-4497-8D0D-42C74A04A357}" dt="2022-01-07T21:38:41.325" v="197" actId="1036"/>
          <ac:spMkLst>
            <pc:docMk/>
            <pc:sldMk cId="860505324" sldId="1957"/>
            <ac:spMk id="29" creationId="{B454FB8C-336A-4106-AB49-7AE0B413BA61}"/>
          </ac:spMkLst>
        </pc:spChg>
        <pc:spChg chg="mod">
          <ac:chgData name="Luiz Macedo" userId="7b3c29be-d15f-473b-8b79-40ce79eed9b8" providerId="ADAL" clId="{6012430E-18C6-4497-8D0D-42C74A04A357}" dt="2022-01-07T21:38:41.325" v="197" actId="1036"/>
          <ac:spMkLst>
            <pc:docMk/>
            <pc:sldMk cId="860505324" sldId="1957"/>
            <ac:spMk id="30" creationId="{B27779F9-29DE-4C3F-B6F3-001893029A9B}"/>
          </ac:spMkLst>
        </pc:spChg>
        <pc:spChg chg="mod">
          <ac:chgData name="Luiz Macedo" userId="7b3c29be-d15f-473b-8b79-40ce79eed9b8" providerId="ADAL" clId="{6012430E-18C6-4497-8D0D-42C74A04A357}" dt="2022-01-07T21:38:41.325" v="197" actId="1036"/>
          <ac:spMkLst>
            <pc:docMk/>
            <pc:sldMk cId="860505324" sldId="1957"/>
            <ac:spMk id="33" creationId="{A8E3CA20-351E-481C-9DA1-E4036EA23A7F}"/>
          </ac:spMkLst>
        </pc:spChg>
        <pc:spChg chg="mod">
          <ac:chgData name="Luiz Macedo" userId="7b3c29be-d15f-473b-8b79-40ce79eed9b8" providerId="ADAL" clId="{6012430E-18C6-4497-8D0D-42C74A04A357}" dt="2022-01-07T21:38:41.325" v="197" actId="1036"/>
          <ac:spMkLst>
            <pc:docMk/>
            <pc:sldMk cId="860505324" sldId="1957"/>
            <ac:spMk id="34" creationId="{B81AE78A-F156-4594-883D-C3BAB9E61F91}"/>
          </ac:spMkLst>
        </pc:spChg>
        <pc:picChg chg="mod">
          <ac:chgData name="Luiz Macedo" userId="7b3c29be-d15f-473b-8b79-40ce79eed9b8" providerId="ADAL" clId="{6012430E-18C6-4497-8D0D-42C74A04A357}" dt="2022-01-07T21:38:41.325" v="197" actId="1036"/>
          <ac:picMkLst>
            <pc:docMk/>
            <pc:sldMk cId="860505324" sldId="1957"/>
            <ac:picMk id="14" creationId="{715AA786-DECC-48FA-AF5B-34917E0356FC}"/>
          </ac:picMkLst>
        </pc:picChg>
        <pc:picChg chg="mod">
          <ac:chgData name="Luiz Macedo" userId="7b3c29be-d15f-473b-8b79-40ce79eed9b8" providerId="ADAL" clId="{6012430E-18C6-4497-8D0D-42C74A04A357}" dt="2022-01-07T21:38:41.325" v="197" actId="1036"/>
          <ac:picMkLst>
            <pc:docMk/>
            <pc:sldMk cId="860505324" sldId="1957"/>
            <ac:picMk id="24" creationId="{E908DA3E-A048-4342-9935-A6C9431BAAAC}"/>
          </ac:picMkLst>
        </pc:picChg>
        <pc:picChg chg="mod">
          <ac:chgData name="Luiz Macedo" userId="7b3c29be-d15f-473b-8b79-40ce79eed9b8" providerId="ADAL" clId="{6012430E-18C6-4497-8D0D-42C74A04A357}" dt="2022-01-07T21:38:41.325" v="197" actId="1036"/>
          <ac:picMkLst>
            <pc:docMk/>
            <pc:sldMk cId="860505324" sldId="1957"/>
            <ac:picMk id="28" creationId="{509AD7E7-9A06-441E-8EED-A2A814504DB8}"/>
          </ac:picMkLst>
        </pc:picChg>
        <pc:picChg chg="mod">
          <ac:chgData name="Luiz Macedo" userId="7b3c29be-d15f-473b-8b79-40ce79eed9b8" providerId="ADAL" clId="{6012430E-18C6-4497-8D0D-42C74A04A357}" dt="2022-01-07T21:38:41.325" v="197" actId="1036"/>
          <ac:picMkLst>
            <pc:docMk/>
            <pc:sldMk cId="860505324" sldId="1957"/>
            <ac:picMk id="32" creationId="{52F8A307-4D32-43AD-B589-6B1BE3ECFD09}"/>
          </ac:picMkLst>
        </pc:picChg>
        <pc:cxnChg chg="mod">
          <ac:chgData name="Luiz Macedo" userId="7b3c29be-d15f-473b-8b79-40ce79eed9b8" providerId="ADAL" clId="{6012430E-18C6-4497-8D0D-42C74A04A357}" dt="2022-01-07T21:38:41.325" v="197" actId="1036"/>
          <ac:cxnSpMkLst>
            <pc:docMk/>
            <pc:sldMk cId="860505324" sldId="1957"/>
            <ac:cxnSpMk id="23" creationId="{A0119163-D865-4520-9C31-8E26C7BA0825}"/>
          </ac:cxnSpMkLst>
        </pc:cxnChg>
        <pc:cxnChg chg="mod">
          <ac:chgData name="Luiz Macedo" userId="7b3c29be-d15f-473b-8b79-40ce79eed9b8" providerId="ADAL" clId="{6012430E-18C6-4497-8D0D-42C74A04A357}" dt="2022-01-07T21:38:41.325" v="197" actId="1036"/>
          <ac:cxnSpMkLst>
            <pc:docMk/>
            <pc:sldMk cId="860505324" sldId="1957"/>
            <ac:cxnSpMk id="27" creationId="{6A259227-B290-41BC-9E01-8B5EBBC4A092}"/>
          </ac:cxnSpMkLst>
        </pc:cxnChg>
        <pc:cxnChg chg="mod">
          <ac:chgData name="Luiz Macedo" userId="7b3c29be-d15f-473b-8b79-40ce79eed9b8" providerId="ADAL" clId="{6012430E-18C6-4497-8D0D-42C74A04A357}" dt="2022-01-07T21:38:41.325" v="197" actId="1036"/>
          <ac:cxnSpMkLst>
            <pc:docMk/>
            <pc:sldMk cId="860505324" sldId="1957"/>
            <ac:cxnSpMk id="31" creationId="{266696EB-8518-4957-9D6C-E801A4039BC2}"/>
          </ac:cxnSpMkLst>
        </pc:cxnChg>
      </pc:sldChg>
      <pc:sldChg chg="modSp mod">
        <pc:chgData name="Luiz Macedo" userId="7b3c29be-d15f-473b-8b79-40ce79eed9b8" providerId="ADAL" clId="{6012430E-18C6-4497-8D0D-42C74A04A357}" dt="2022-01-07T21:46:31.726" v="332"/>
        <pc:sldMkLst>
          <pc:docMk/>
          <pc:sldMk cId="46769641" sldId="1958"/>
        </pc:sldMkLst>
        <pc:spChg chg="mod">
          <ac:chgData name="Luiz Macedo" userId="7b3c29be-d15f-473b-8b79-40ce79eed9b8" providerId="ADAL" clId="{6012430E-18C6-4497-8D0D-42C74A04A357}" dt="2022-01-07T21:46:31.726" v="332"/>
          <ac:spMkLst>
            <pc:docMk/>
            <pc:sldMk cId="46769641" sldId="1958"/>
            <ac:spMk id="2" creationId="{C1651913-B7C1-4D16-9926-7B36BD404244}"/>
          </ac:spMkLst>
        </pc:spChg>
      </pc:sldChg>
      <pc:sldChg chg="modSp add mod">
        <pc:chgData name="Luiz Macedo" userId="7b3c29be-d15f-473b-8b79-40ce79eed9b8" providerId="ADAL" clId="{6012430E-18C6-4497-8D0D-42C74A04A357}" dt="2022-01-07T21:54:15.773" v="476"/>
        <pc:sldMkLst>
          <pc:docMk/>
          <pc:sldMk cId="1826022198" sldId="1959"/>
        </pc:sldMkLst>
        <pc:spChg chg="mod">
          <ac:chgData name="Luiz Macedo" userId="7b3c29be-d15f-473b-8b79-40ce79eed9b8" providerId="ADAL" clId="{6012430E-18C6-4497-8D0D-42C74A04A357}" dt="2022-01-07T21:54:15.773" v="476"/>
          <ac:spMkLst>
            <pc:docMk/>
            <pc:sldMk cId="1826022198" sldId="1959"/>
            <ac:spMk id="7" creationId="{233F99A7-B017-4C7D-9CDC-CED627CEEC04}"/>
          </ac:spMkLst>
        </pc:spChg>
      </pc:sldChg>
      <pc:sldChg chg="add">
        <pc:chgData name="Luiz Macedo" userId="7b3c29be-d15f-473b-8b79-40ce79eed9b8" providerId="ADAL" clId="{6012430E-18C6-4497-8D0D-42C74A04A357}" dt="2022-01-07T21:37:36.044" v="169"/>
        <pc:sldMkLst>
          <pc:docMk/>
          <pc:sldMk cId="1921655462" sldId="1960"/>
        </pc:sldMkLst>
      </pc:sldChg>
      <pc:sldChg chg="modSp add mod">
        <pc:chgData name="Luiz Macedo" userId="7b3c29be-d15f-473b-8b79-40ce79eed9b8" providerId="ADAL" clId="{6012430E-18C6-4497-8D0D-42C74A04A357}" dt="2022-01-07T21:51:02.537" v="412"/>
        <pc:sldMkLst>
          <pc:docMk/>
          <pc:sldMk cId="171335779" sldId="1961"/>
        </pc:sldMkLst>
        <pc:spChg chg="mod">
          <ac:chgData name="Luiz Macedo" userId="7b3c29be-d15f-473b-8b79-40ce79eed9b8" providerId="ADAL" clId="{6012430E-18C6-4497-8D0D-42C74A04A357}" dt="2022-01-07T21:51:02.537" v="412"/>
          <ac:spMkLst>
            <pc:docMk/>
            <pc:sldMk cId="171335779" sldId="1961"/>
            <ac:spMk id="2" creationId="{0AE2E1E9-142E-49B2-A65B-46D36A572165}"/>
          </ac:spMkLst>
        </pc:spChg>
      </pc:sldChg>
      <pc:sldChg chg="modSp add mod">
        <pc:chgData name="Luiz Macedo" userId="7b3c29be-d15f-473b-8b79-40ce79eed9b8" providerId="ADAL" clId="{6012430E-18C6-4497-8D0D-42C74A04A357}" dt="2022-01-07T21:51:09.960" v="413"/>
        <pc:sldMkLst>
          <pc:docMk/>
          <pc:sldMk cId="1152369062" sldId="1962"/>
        </pc:sldMkLst>
        <pc:spChg chg="mod">
          <ac:chgData name="Luiz Macedo" userId="7b3c29be-d15f-473b-8b79-40ce79eed9b8" providerId="ADAL" clId="{6012430E-18C6-4497-8D0D-42C74A04A357}" dt="2022-01-07T21:51:09.960" v="413"/>
          <ac:spMkLst>
            <pc:docMk/>
            <pc:sldMk cId="1152369062" sldId="1962"/>
            <ac:spMk id="2" creationId="{9C2A0824-75AF-4CCD-882B-00DFB808DB39}"/>
          </ac:spMkLst>
        </pc:spChg>
      </pc:sldChg>
      <pc:sldChg chg="modSp add mod">
        <pc:chgData name="Luiz Macedo" userId="7b3c29be-d15f-473b-8b79-40ce79eed9b8" providerId="ADAL" clId="{6012430E-18C6-4497-8D0D-42C74A04A357}" dt="2022-01-07T21:53:02.206" v="454"/>
        <pc:sldMkLst>
          <pc:docMk/>
          <pc:sldMk cId="1065413711" sldId="1963"/>
        </pc:sldMkLst>
        <pc:spChg chg="mod">
          <ac:chgData name="Luiz Macedo" userId="7b3c29be-d15f-473b-8b79-40ce79eed9b8" providerId="ADAL" clId="{6012430E-18C6-4497-8D0D-42C74A04A357}" dt="2022-01-07T21:53:02.206" v="454"/>
          <ac:spMkLst>
            <pc:docMk/>
            <pc:sldMk cId="1065413711" sldId="1963"/>
            <ac:spMk id="4" creationId="{0CD8665D-5A50-4F07-9D33-48CCD3FD74C7}"/>
          </ac:spMkLst>
        </pc:spChg>
      </pc:sldChg>
      <pc:sldChg chg="modSp add mod">
        <pc:chgData name="Luiz Macedo" userId="7b3c29be-d15f-473b-8b79-40ce79eed9b8" providerId="ADAL" clId="{6012430E-18C6-4497-8D0D-42C74A04A357}" dt="2022-01-07T21:55:02.211" v="488"/>
        <pc:sldMkLst>
          <pc:docMk/>
          <pc:sldMk cId="3882870086" sldId="1964"/>
        </pc:sldMkLst>
        <pc:spChg chg="mod">
          <ac:chgData name="Luiz Macedo" userId="7b3c29be-d15f-473b-8b79-40ce79eed9b8" providerId="ADAL" clId="{6012430E-18C6-4497-8D0D-42C74A04A357}" dt="2022-01-07T21:55:02.211" v="488"/>
          <ac:spMkLst>
            <pc:docMk/>
            <pc:sldMk cId="3882870086" sldId="1964"/>
            <ac:spMk id="4" creationId="{00000000-0000-0000-0000-000000000000}"/>
          </ac:spMkLst>
        </pc:spChg>
      </pc:sldChg>
      <pc:sldChg chg="modSp add mod">
        <pc:chgData name="Luiz Macedo" userId="7b3c29be-d15f-473b-8b79-40ce79eed9b8" providerId="ADAL" clId="{6012430E-18C6-4497-8D0D-42C74A04A357}" dt="2022-01-07T21:55:26.656" v="505" actId="1036"/>
        <pc:sldMkLst>
          <pc:docMk/>
          <pc:sldMk cId="3946537586" sldId="1965"/>
        </pc:sldMkLst>
        <pc:spChg chg="mod">
          <ac:chgData name="Luiz Macedo" userId="7b3c29be-d15f-473b-8b79-40ce79eed9b8" providerId="ADAL" clId="{6012430E-18C6-4497-8D0D-42C74A04A357}" dt="2022-01-07T21:55:26.656" v="505" actId="1036"/>
          <ac:spMkLst>
            <pc:docMk/>
            <pc:sldMk cId="3946537586" sldId="1965"/>
            <ac:spMk id="4" creationId="{F90B8F01-129E-4AD3-8DEE-96BA43AEC8DA}"/>
          </ac:spMkLst>
        </pc:spChg>
        <pc:spChg chg="mod">
          <ac:chgData name="Luiz Macedo" userId="7b3c29be-d15f-473b-8b79-40ce79eed9b8" providerId="ADAL" clId="{6012430E-18C6-4497-8D0D-42C74A04A357}" dt="2022-01-07T21:55:26.656" v="505" actId="1036"/>
          <ac:spMkLst>
            <pc:docMk/>
            <pc:sldMk cId="3946537586" sldId="1965"/>
            <ac:spMk id="5" creationId="{C1D911A0-0FBA-4DC5-88CA-58152C6C5E7C}"/>
          </ac:spMkLst>
        </pc:spChg>
        <pc:spChg chg="mod">
          <ac:chgData name="Luiz Macedo" userId="7b3c29be-d15f-473b-8b79-40ce79eed9b8" providerId="ADAL" clId="{6012430E-18C6-4497-8D0D-42C74A04A357}" dt="2022-01-07T21:55:21.274" v="495"/>
          <ac:spMkLst>
            <pc:docMk/>
            <pc:sldMk cId="3946537586" sldId="1965"/>
            <ac:spMk id="17" creationId="{00000000-0000-0000-0000-000000000000}"/>
          </ac:spMkLst>
        </pc:spChg>
        <pc:picChg chg="mod">
          <ac:chgData name="Luiz Macedo" userId="7b3c29be-d15f-473b-8b79-40ce79eed9b8" providerId="ADAL" clId="{6012430E-18C6-4497-8D0D-42C74A04A357}" dt="2022-01-07T21:55:26.656" v="505" actId="1036"/>
          <ac:picMkLst>
            <pc:docMk/>
            <pc:sldMk cId="3946537586" sldId="1965"/>
            <ac:picMk id="22" creationId="{ABC8F794-11E8-49AC-AA09-39F850C4773C}"/>
          </ac:picMkLst>
        </pc:picChg>
      </pc:sldChg>
      <pc:sldChg chg="modSp add mod ord">
        <pc:chgData name="Luiz Macedo" userId="7b3c29be-d15f-473b-8b79-40ce79eed9b8" providerId="ADAL" clId="{6012430E-18C6-4497-8D0D-42C74A04A357}" dt="2022-01-07T21:56:06.415" v="509"/>
        <pc:sldMkLst>
          <pc:docMk/>
          <pc:sldMk cId="46266726" sldId="1966"/>
        </pc:sldMkLst>
        <pc:spChg chg="mod">
          <ac:chgData name="Luiz Macedo" userId="7b3c29be-d15f-473b-8b79-40ce79eed9b8" providerId="ADAL" clId="{6012430E-18C6-4497-8D0D-42C74A04A357}" dt="2022-01-07T21:56:06.415" v="509"/>
          <ac:spMkLst>
            <pc:docMk/>
            <pc:sldMk cId="46266726" sldId="1966"/>
            <ac:spMk id="17" creationId="{00000000-0000-0000-0000-000000000000}"/>
          </ac:spMkLst>
        </pc:spChg>
      </pc:sldChg>
      <pc:sldChg chg="modSp add mod setBg">
        <pc:chgData name="Luiz Macedo" userId="7b3c29be-d15f-473b-8b79-40ce79eed9b8" providerId="ADAL" clId="{6012430E-18C6-4497-8D0D-42C74A04A357}" dt="2022-01-07T21:55:41.660" v="506"/>
        <pc:sldMkLst>
          <pc:docMk/>
          <pc:sldMk cId="3835512427" sldId="1967"/>
        </pc:sldMkLst>
        <pc:spChg chg="mod">
          <ac:chgData name="Luiz Macedo" userId="7b3c29be-d15f-473b-8b79-40ce79eed9b8" providerId="ADAL" clId="{6012430E-18C6-4497-8D0D-42C74A04A357}" dt="2022-01-07T21:55:41.660" v="506"/>
          <ac:spMkLst>
            <pc:docMk/>
            <pc:sldMk cId="3835512427" sldId="1967"/>
            <ac:spMk id="2" creationId="{EE63D1B4-FF6C-4881-99D1-D1376403CCF4}"/>
          </ac:spMkLst>
        </pc:spChg>
      </pc:sldChg>
      <pc:sldChg chg="modSp add mod">
        <pc:chgData name="Luiz Macedo" userId="7b3c29be-d15f-473b-8b79-40ce79eed9b8" providerId="ADAL" clId="{6012430E-18C6-4497-8D0D-42C74A04A357}" dt="2022-01-07T21:57:06.213" v="525" actId="1036"/>
        <pc:sldMkLst>
          <pc:docMk/>
          <pc:sldMk cId="2938927582" sldId="1968"/>
        </pc:sldMkLst>
        <pc:spChg chg="mod">
          <ac:chgData name="Luiz Macedo" userId="7b3c29be-d15f-473b-8b79-40ce79eed9b8" providerId="ADAL" clId="{6012430E-18C6-4497-8D0D-42C74A04A357}" dt="2022-01-07T21:57:06.213" v="525" actId="1036"/>
          <ac:spMkLst>
            <pc:docMk/>
            <pc:sldMk cId="2938927582" sldId="1968"/>
            <ac:spMk id="11" creationId="{669C99B1-06D1-451B-BABE-AE2AAFD4C574}"/>
          </ac:spMkLst>
        </pc:spChg>
        <pc:spChg chg="mod">
          <ac:chgData name="Luiz Macedo" userId="7b3c29be-d15f-473b-8b79-40ce79eed9b8" providerId="ADAL" clId="{6012430E-18C6-4497-8D0D-42C74A04A357}" dt="2022-01-07T21:57:06.213" v="525" actId="1036"/>
          <ac:spMkLst>
            <pc:docMk/>
            <pc:sldMk cId="2938927582" sldId="1968"/>
            <ac:spMk id="16" creationId="{0CAA93F7-41EE-489C-B0DF-D6B2D863C18F}"/>
          </ac:spMkLst>
        </pc:spChg>
        <pc:spChg chg="mod">
          <ac:chgData name="Luiz Macedo" userId="7b3c29be-d15f-473b-8b79-40ce79eed9b8" providerId="ADAL" clId="{6012430E-18C6-4497-8D0D-42C74A04A357}" dt="2022-01-07T21:57:06.213" v="525" actId="1036"/>
          <ac:spMkLst>
            <pc:docMk/>
            <pc:sldMk cId="2938927582" sldId="1968"/>
            <ac:spMk id="18" creationId="{09D3DB34-A497-40F9-A2B6-0350C6D7D307}"/>
          </ac:spMkLst>
        </pc:spChg>
        <pc:spChg chg="mod">
          <ac:chgData name="Luiz Macedo" userId="7b3c29be-d15f-473b-8b79-40ce79eed9b8" providerId="ADAL" clId="{6012430E-18C6-4497-8D0D-42C74A04A357}" dt="2022-01-07T21:57:06.213" v="525" actId="1036"/>
          <ac:spMkLst>
            <pc:docMk/>
            <pc:sldMk cId="2938927582" sldId="1968"/>
            <ac:spMk id="20" creationId="{5FFF9B32-F4F6-4D07-A15B-846FC8408266}"/>
          </ac:spMkLst>
        </pc:spChg>
        <pc:spChg chg="mod">
          <ac:chgData name="Luiz Macedo" userId="7b3c29be-d15f-473b-8b79-40ce79eed9b8" providerId="ADAL" clId="{6012430E-18C6-4497-8D0D-42C74A04A357}" dt="2022-01-07T21:57:06.213" v="525" actId="1036"/>
          <ac:spMkLst>
            <pc:docMk/>
            <pc:sldMk cId="2938927582" sldId="1968"/>
            <ac:spMk id="22" creationId="{0C85DC9F-9ECE-48EF-AC63-8FA3DD893870}"/>
          </ac:spMkLst>
        </pc:spChg>
        <pc:spChg chg="mod">
          <ac:chgData name="Luiz Macedo" userId="7b3c29be-d15f-473b-8b79-40ce79eed9b8" providerId="ADAL" clId="{6012430E-18C6-4497-8D0D-42C74A04A357}" dt="2022-01-07T21:57:06.213" v="525" actId="1036"/>
          <ac:spMkLst>
            <pc:docMk/>
            <pc:sldMk cId="2938927582" sldId="1968"/>
            <ac:spMk id="26" creationId="{BD6A3508-0DA2-4116-9F6A-FB68E021A5BD}"/>
          </ac:spMkLst>
        </pc:spChg>
        <pc:picChg chg="mod">
          <ac:chgData name="Luiz Macedo" userId="7b3c29be-d15f-473b-8b79-40ce79eed9b8" providerId="ADAL" clId="{6012430E-18C6-4497-8D0D-42C74A04A357}" dt="2022-01-07T21:57:06.213" v="525" actId="1036"/>
          <ac:picMkLst>
            <pc:docMk/>
            <pc:sldMk cId="2938927582" sldId="1968"/>
            <ac:picMk id="4" creationId="{AE21AE97-56BF-45EC-BE1F-B432FB9B9232}"/>
          </ac:picMkLst>
        </pc:picChg>
        <pc:picChg chg="mod">
          <ac:chgData name="Luiz Macedo" userId="7b3c29be-d15f-473b-8b79-40ce79eed9b8" providerId="ADAL" clId="{6012430E-18C6-4497-8D0D-42C74A04A357}" dt="2022-01-07T21:57:06.213" v="525" actId="1036"/>
          <ac:picMkLst>
            <pc:docMk/>
            <pc:sldMk cId="2938927582" sldId="1968"/>
            <ac:picMk id="21" creationId="{E72B775B-FEEC-4295-A6A4-C445D3A726A6}"/>
          </ac:picMkLst>
        </pc:picChg>
        <pc:picChg chg="mod">
          <ac:chgData name="Luiz Macedo" userId="7b3c29be-d15f-473b-8b79-40ce79eed9b8" providerId="ADAL" clId="{6012430E-18C6-4497-8D0D-42C74A04A357}" dt="2022-01-07T21:57:06.213" v="525" actId="1036"/>
          <ac:picMkLst>
            <pc:docMk/>
            <pc:sldMk cId="2938927582" sldId="1968"/>
            <ac:picMk id="27" creationId="{FD3606A1-7BEA-48B7-946B-5CAD92ABD44B}"/>
          </ac:picMkLst>
        </pc:picChg>
        <pc:picChg chg="mod">
          <ac:chgData name="Luiz Macedo" userId="7b3c29be-d15f-473b-8b79-40ce79eed9b8" providerId="ADAL" clId="{6012430E-18C6-4497-8D0D-42C74A04A357}" dt="2022-01-07T21:57:06.213" v="525" actId="1036"/>
          <ac:picMkLst>
            <pc:docMk/>
            <pc:sldMk cId="2938927582" sldId="1968"/>
            <ac:picMk id="31" creationId="{CEDFF1B2-B046-4A80-8230-1AB65C0852C4}"/>
          </ac:picMkLst>
        </pc:picChg>
        <pc:picChg chg="mod">
          <ac:chgData name="Luiz Macedo" userId="7b3c29be-d15f-473b-8b79-40ce79eed9b8" providerId="ADAL" clId="{6012430E-18C6-4497-8D0D-42C74A04A357}" dt="2022-01-07T21:57:06.213" v="525" actId="1036"/>
          <ac:picMkLst>
            <pc:docMk/>
            <pc:sldMk cId="2938927582" sldId="1968"/>
            <ac:picMk id="34" creationId="{85477E04-C71C-4ED0-B796-3529A6EB3065}"/>
          </ac:picMkLst>
        </pc:picChg>
        <pc:cxnChg chg="mod">
          <ac:chgData name="Luiz Macedo" userId="7b3c29be-d15f-473b-8b79-40ce79eed9b8" providerId="ADAL" clId="{6012430E-18C6-4497-8D0D-42C74A04A357}" dt="2022-01-07T21:57:06.213" v="525" actId="1036"/>
          <ac:cxnSpMkLst>
            <pc:docMk/>
            <pc:sldMk cId="2938927582" sldId="1968"/>
            <ac:cxnSpMk id="7" creationId="{5AD3D18F-84D3-4730-9CFE-16C504DAC614}"/>
          </ac:cxnSpMkLst>
        </pc:cxnChg>
        <pc:cxnChg chg="mod">
          <ac:chgData name="Luiz Macedo" userId="7b3c29be-d15f-473b-8b79-40ce79eed9b8" providerId="ADAL" clId="{6012430E-18C6-4497-8D0D-42C74A04A357}" dt="2022-01-07T21:57:06.213" v="525" actId="1036"/>
          <ac:cxnSpMkLst>
            <pc:docMk/>
            <pc:sldMk cId="2938927582" sldId="1968"/>
            <ac:cxnSpMk id="8" creationId="{47A5A8CD-AFF3-4739-BADE-87BB67579F71}"/>
          </ac:cxnSpMkLst>
        </pc:cxnChg>
        <pc:cxnChg chg="mod">
          <ac:chgData name="Luiz Macedo" userId="7b3c29be-d15f-473b-8b79-40ce79eed9b8" providerId="ADAL" clId="{6012430E-18C6-4497-8D0D-42C74A04A357}" dt="2022-01-07T21:57:06.213" v="525" actId="1036"/>
          <ac:cxnSpMkLst>
            <pc:docMk/>
            <pc:sldMk cId="2938927582" sldId="1968"/>
            <ac:cxnSpMk id="9" creationId="{EDD0F15F-A3BF-4300-97C7-BF95E33493F9}"/>
          </ac:cxnSpMkLst>
        </pc:cxnChg>
        <pc:cxnChg chg="mod">
          <ac:chgData name="Luiz Macedo" userId="7b3c29be-d15f-473b-8b79-40ce79eed9b8" providerId="ADAL" clId="{6012430E-18C6-4497-8D0D-42C74A04A357}" dt="2022-01-07T21:57:06.213" v="525" actId="1036"/>
          <ac:cxnSpMkLst>
            <pc:docMk/>
            <pc:sldMk cId="2938927582" sldId="1968"/>
            <ac:cxnSpMk id="10" creationId="{E0838DF5-35F8-4FC5-AC57-0FD2F47E7372}"/>
          </ac:cxnSpMkLst>
        </pc:cxnChg>
      </pc:sldChg>
      <pc:sldChg chg="modSp add mod">
        <pc:chgData name="Luiz Macedo" userId="7b3c29be-d15f-473b-8b79-40ce79eed9b8" providerId="ADAL" clId="{6012430E-18C6-4497-8D0D-42C74A04A357}" dt="2022-01-07T21:56:34.570" v="511"/>
        <pc:sldMkLst>
          <pc:docMk/>
          <pc:sldMk cId="1488089946" sldId="1969"/>
        </pc:sldMkLst>
        <pc:spChg chg="mod">
          <ac:chgData name="Luiz Macedo" userId="7b3c29be-d15f-473b-8b79-40ce79eed9b8" providerId="ADAL" clId="{6012430E-18C6-4497-8D0D-42C74A04A357}" dt="2022-01-07T21:56:34.570" v="511"/>
          <ac:spMkLst>
            <pc:docMk/>
            <pc:sldMk cId="1488089946" sldId="1969"/>
            <ac:spMk id="2" creationId="{7720ED75-5944-4BB1-9D5D-7CED1E8B646E}"/>
          </ac:spMkLst>
        </pc:spChg>
      </pc:sldChg>
      <pc:sldChg chg="modSp add mod">
        <pc:chgData name="Luiz Macedo" userId="7b3c29be-d15f-473b-8b79-40ce79eed9b8" providerId="ADAL" clId="{6012430E-18C6-4497-8D0D-42C74A04A357}" dt="2022-01-07T21:57:15.471" v="526"/>
        <pc:sldMkLst>
          <pc:docMk/>
          <pc:sldMk cId="3196307179" sldId="1970"/>
        </pc:sldMkLst>
        <pc:spChg chg="mod">
          <ac:chgData name="Luiz Macedo" userId="7b3c29be-d15f-473b-8b79-40ce79eed9b8" providerId="ADAL" clId="{6012430E-18C6-4497-8D0D-42C74A04A357}" dt="2022-01-07T21:57:15.471" v="526"/>
          <ac:spMkLst>
            <pc:docMk/>
            <pc:sldMk cId="3196307179" sldId="1970"/>
            <ac:spMk id="2" creationId="{34BCC93F-DD28-4E50-9E4B-6295314A4CB2}"/>
          </ac:spMkLst>
        </pc:spChg>
      </pc:sldChg>
      <pc:sldChg chg="modSp add mod">
        <pc:chgData name="Luiz Macedo" userId="7b3c29be-d15f-473b-8b79-40ce79eed9b8" providerId="ADAL" clId="{6012430E-18C6-4497-8D0D-42C74A04A357}" dt="2022-01-07T21:57:24.141" v="527"/>
        <pc:sldMkLst>
          <pc:docMk/>
          <pc:sldMk cId="2950951966" sldId="1971"/>
        </pc:sldMkLst>
        <pc:spChg chg="mod">
          <ac:chgData name="Luiz Macedo" userId="7b3c29be-d15f-473b-8b79-40ce79eed9b8" providerId="ADAL" clId="{6012430E-18C6-4497-8D0D-42C74A04A357}" dt="2022-01-07T21:57:24.141" v="527"/>
          <ac:spMkLst>
            <pc:docMk/>
            <pc:sldMk cId="2950951966" sldId="1971"/>
            <ac:spMk id="2" creationId="{652A9577-DD8B-4759-A84A-2E7047D53F1A}"/>
          </ac:spMkLst>
        </pc:spChg>
      </pc:sldChg>
      <pc:sldChg chg="modSp add mod">
        <pc:chgData name="Luiz Macedo" userId="7b3c29be-d15f-473b-8b79-40ce79eed9b8" providerId="ADAL" clId="{6012430E-18C6-4497-8D0D-42C74A04A357}" dt="2022-01-07T21:57:32.664" v="528"/>
        <pc:sldMkLst>
          <pc:docMk/>
          <pc:sldMk cId="3526592946" sldId="1972"/>
        </pc:sldMkLst>
        <pc:spChg chg="mod">
          <ac:chgData name="Luiz Macedo" userId="7b3c29be-d15f-473b-8b79-40ce79eed9b8" providerId="ADAL" clId="{6012430E-18C6-4497-8D0D-42C74A04A357}" dt="2022-01-07T21:57:32.664" v="528"/>
          <ac:spMkLst>
            <pc:docMk/>
            <pc:sldMk cId="3526592946" sldId="1972"/>
            <ac:spMk id="2" creationId="{7720ED75-5944-4BB1-9D5D-7CED1E8B646E}"/>
          </ac:spMkLst>
        </pc:spChg>
      </pc:sldChg>
    </pc:docChg>
  </pc:docChgLst>
  <pc:docChgLst>
    <pc:chgData name="Jarrod Renfro" userId="d048d542-e669-493e-8dc7-fbcf4efcde8f" providerId="ADAL" clId="{D8ECE16C-45B6-4A71-8551-F4516728E654}"/>
    <pc:docChg chg="modSld">
      <pc:chgData name="Jarrod Renfro" userId="d048d542-e669-493e-8dc7-fbcf4efcde8f" providerId="ADAL" clId="{D8ECE16C-45B6-4A71-8551-F4516728E654}" dt="2020-12-08T23:37:26.112" v="5" actId="20577"/>
      <pc:docMkLst>
        <pc:docMk/>
      </pc:docMkLst>
      <pc:sldChg chg="modSp mod">
        <pc:chgData name="Jarrod Renfro" userId="d048d542-e669-493e-8dc7-fbcf4efcde8f" providerId="ADAL" clId="{D8ECE16C-45B6-4A71-8551-F4516728E654}" dt="2020-12-08T23:27:49.401" v="3" actId="20577"/>
        <pc:sldMkLst>
          <pc:docMk/>
          <pc:sldMk cId="1564636046" sldId="1912"/>
        </pc:sldMkLst>
        <pc:spChg chg="mod">
          <ac:chgData name="Jarrod Renfro" userId="d048d542-e669-493e-8dc7-fbcf4efcde8f" providerId="ADAL" clId="{D8ECE16C-45B6-4A71-8551-F4516728E654}" dt="2020-12-08T23:27:49.401" v="3" actId="20577"/>
          <ac:spMkLst>
            <pc:docMk/>
            <pc:sldMk cId="1564636046" sldId="1912"/>
            <ac:spMk id="23" creationId="{DB8B8309-9B9B-4984-861B-67901A13DB8B}"/>
          </ac:spMkLst>
        </pc:spChg>
      </pc:sldChg>
      <pc:sldChg chg="modSp mod">
        <pc:chgData name="Jarrod Renfro" userId="d048d542-e669-493e-8dc7-fbcf4efcde8f" providerId="ADAL" clId="{D8ECE16C-45B6-4A71-8551-F4516728E654}" dt="2020-12-08T23:37:26.112" v="5" actId="20577"/>
        <pc:sldMkLst>
          <pc:docMk/>
          <pc:sldMk cId="1435531668" sldId="1922"/>
        </pc:sldMkLst>
        <pc:spChg chg="mod">
          <ac:chgData name="Jarrod Renfro" userId="d048d542-e669-493e-8dc7-fbcf4efcde8f" providerId="ADAL" clId="{D8ECE16C-45B6-4A71-8551-F4516728E654}" dt="2020-12-08T23:37:26.112" v="5" actId="20577"/>
          <ac:spMkLst>
            <pc:docMk/>
            <pc:sldMk cId="1435531668" sldId="1922"/>
            <ac:spMk id="28" creationId="{F5635109-7EA9-467F-B3C8-C309949C9227}"/>
          </ac:spMkLst>
        </pc:spChg>
      </pc:sldChg>
      <pc:sldChg chg="modSp mod">
        <pc:chgData name="Jarrod Renfro" userId="d048d542-e669-493e-8dc7-fbcf4efcde8f" providerId="ADAL" clId="{D8ECE16C-45B6-4A71-8551-F4516728E654}" dt="2020-12-08T23:01:20.740" v="1" actId="20577"/>
        <pc:sldMkLst>
          <pc:docMk/>
          <pc:sldMk cId="46769641" sldId="1958"/>
        </pc:sldMkLst>
        <pc:spChg chg="mod">
          <ac:chgData name="Jarrod Renfro" userId="d048d542-e669-493e-8dc7-fbcf4efcde8f" providerId="ADAL" clId="{D8ECE16C-45B6-4A71-8551-F4516728E654}" dt="2020-12-08T23:01:20.740" v="1" actId="20577"/>
          <ac:spMkLst>
            <pc:docMk/>
            <pc:sldMk cId="46769641" sldId="1958"/>
            <ac:spMk id="69" creationId="{F7483AA8-954C-414E-B962-EB0144FC6AE3}"/>
          </ac:spMkLst>
        </pc:spChg>
      </pc:sldChg>
    </pc:docChg>
  </pc:docChgLst>
  <pc:docChgLst>
    <pc:chgData name="Luiz Macedo" userId="7b3c29be-d15f-473b-8b79-40ce79eed9b8" providerId="ADAL" clId="{E02F46DC-E0B5-4390-8BB3-0DE87E96D786}"/>
    <pc:docChg chg="undo redo custSel addSld delSld modSld">
      <pc:chgData name="Luiz Macedo" userId="7b3c29be-d15f-473b-8b79-40ce79eed9b8" providerId="ADAL" clId="{E02F46DC-E0B5-4390-8BB3-0DE87E96D786}" dt="2022-05-02T19:57:31.278" v="382" actId="2696"/>
      <pc:docMkLst>
        <pc:docMk/>
      </pc:docMkLst>
      <pc:sldChg chg="modSp mod">
        <pc:chgData name="Luiz Macedo" userId="7b3c29be-d15f-473b-8b79-40ce79eed9b8" providerId="ADAL" clId="{E02F46DC-E0B5-4390-8BB3-0DE87E96D786}" dt="2022-03-21T15:06:20.691" v="31" actId="20577"/>
        <pc:sldMkLst>
          <pc:docMk/>
          <pc:sldMk cId="2627983565" sldId="282"/>
        </pc:sldMkLst>
        <pc:spChg chg="mod">
          <ac:chgData name="Luiz Macedo" userId="7b3c29be-d15f-473b-8b79-40ce79eed9b8" providerId="ADAL" clId="{E02F46DC-E0B5-4390-8BB3-0DE87E96D786}" dt="2022-03-21T15:06:20.691" v="31" actId="20577"/>
          <ac:spMkLst>
            <pc:docMk/>
            <pc:sldMk cId="2627983565" sldId="282"/>
            <ac:spMk id="5" creationId="{DBCC0043-D8A8-49B5-891C-95C5E50C52BA}"/>
          </ac:spMkLst>
        </pc:spChg>
      </pc:sldChg>
      <pc:sldChg chg="modSp add del mod">
        <pc:chgData name="Luiz Macedo" userId="7b3c29be-d15f-473b-8b79-40ce79eed9b8" providerId="ADAL" clId="{E02F46DC-E0B5-4390-8BB3-0DE87E96D786}" dt="2022-04-01T19:40:16.645" v="279" actId="2696"/>
        <pc:sldMkLst>
          <pc:docMk/>
          <pc:sldMk cId="3664412612" sldId="1800"/>
        </pc:sldMkLst>
        <pc:spChg chg="mod">
          <ac:chgData name="Luiz Macedo" userId="7b3c29be-d15f-473b-8b79-40ce79eed9b8" providerId="ADAL" clId="{E02F46DC-E0B5-4390-8BB3-0DE87E96D786}" dt="2022-04-01T19:34:39.531" v="88" actId="14100"/>
          <ac:spMkLst>
            <pc:docMk/>
            <pc:sldMk cId="3664412612" sldId="1800"/>
            <ac:spMk id="38"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42"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56" creationId="{EAE7C8BA-C61F-4138-AB2F-2EF3815F662F}"/>
          </ac:spMkLst>
        </pc:spChg>
        <pc:spChg chg="mod">
          <ac:chgData name="Luiz Macedo" userId="7b3c29be-d15f-473b-8b79-40ce79eed9b8" providerId="ADAL" clId="{E02F46DC-E0B5-4390-8BB3-0DE87E96D786}" dt="2022-04-01T19:34:39.531" v="88" actId="14100"/>
          <ac:spMkLst>
            <pc:docMk/>
            <pc:sldMk cId="3664412612" sldId="1800"/>
            <ac:spMk id="60"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73"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81"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92"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93" creationId="{00000000-0000-0000-0000-000000000000}"/>
          </ac:spMkLst>
        </pc:spChg>
        <pc:spChg chg="mod">
          <ac:chgData name="Luiz Macedo" userId="7b3c29be-d15f-473b-8b79-40ce79eed9b8" providerId="ADAL" clId="{E02F46DC-E0B5-4390-8BB3-0DE87E96D786}" dt="2022-04-01T19:34:39.531" v="88" actId="14100"/>
          <ac:spMkLst>
            <pc:docMk/>
            <pc:sldMk cId="3664412612" sldId="1800"/>
            <ac:spMk id="97" creationId="{A2DB7A67-D38F-4612-9FBB-31D4E36B0977}"/>
          </ac:spMkLst>
        </pc:spChg>
        <pc:spChg chg="mod">
          <ac:chgData name="Luiz Macedo" userId="7b3c29be-d15f-473b-8b79-40ce79eed9b8" providerId="ADAL" clId="{E02F46DC-E0B5-4390-8BB3-0DE87E96D786}" dt="2022-04-01T19:34:39.531" v="88" actId="14100"/>
          <ac:spMkLst>
            <pc:docMk/>
            <pc:sldMk cId="3664412612" sldId="1800"/>
            <ac:spMk id="100" creationId="{4A578E11-24FD-4946-9A12-AC46FA99A41E}"/>
          </ac:spMkLst>
        </pc:spChg>
        <pc:spChg chg="mod">
          <ac:chgData name="Luiz Macedo" userId="7b3c29be-d15f-473b-8b79-40ce79eed9b8" providerId="ADAL" clId="{E02F46DC-E0B5-4390-8BB3-0DE87E96D786}" dt="2022-04-01T19:34:39.531" v="88" actId="14100"/>
          <ac:spMkLst>
            <pc:docMk/>
            <pc:sldMk cId="3664412612" sldId="1800"/>
            <ac:spMk id="108" creationId="{188D39BF-F858-4E27-9F16-A9031194AFC9}"/>
          </ac:spMkLst>
        </pc:spChg>
        <pc:spChg chg="mod">
          <ac:chgData name="Luiz Macedo" userId="7b3c29be-d15f-473b-8b79-40ce79eed9b8" providerId="ADAL" clId="{E02F46DC-E0B5-4390-8BB3-0DE87E96D786}" dt="2022-04-01T19:34:39.531" v="88" actId="14100"/>
          <ac:spMkLst>
            <pc:docMk/>
            <pc:sldMk cId="3664412612" sldId="1800"/>
            <ac:spMk id="109" creationId="{A59E7A3C-1462-4A13-8E4F-39FC3F4B5D5A}"/>
          </ac:spMkLst>
        </pc:spChg>
        <pc:spChg chg="mod">
          <ac:chgData name="Luiz Macedo" userId="7b3c29be-d15f-473b-8b79-40ce79eed9b8" providerId="ADAL" clId="{E02F46DC-E0B5-4390-8BB3-0DE87E96D786}" dt="2022-04-01T19:34:39.531" v="88" actId="14100"/>
          <ac:spMkLst>
            <pc:docMk/>
            <pc:sldMk cId="3664412612" sldId="1800"/>
            <ac:spMk id="110" creationId="{366B09DE-28CB-4E97-B73D-72F5B0EC0233}"/>
          </ac:spMkLst>
        </pc:spChg>
        <pc:spChg chg="mod">
          <ac:chgData name="Luiz Macedo" userId="7b3c29be-d15f-473b-8b79-40ce79eed9b8" providerId="ADAL" clId="{E02F46DC-E0B5-4390-8BB3-0DE87E96D786}" dt="2022-04-01T19:34:39.531" v="88" actId="14100"/>
          <ac:spMkLst>
            <pc:docMk/>
            <pc:sldMk cId="3664412612" sldId="1800"/>
            <ac:spMk id="111" creationId="{D492CCF9-7201-42B3-A079-FAE78FD10F3C}"/>
          </ac:spMkLst>
        </pc:spChg>
        <pc:spChg chg="mod">
          <ac:chgData name="Luiz Macedo" userId="7b3c29be-d15f-473b-8b79-40ce79eed9b8" providerId="ADAL" clId="{E02F46DC-E0B5-4390-8BB3-0DE87E96D786}" dt="2022-04-01T19:34:39.531" v="88" actId="14100"/>
          <ac:spMkLst>
            <pc:docMk/>
            <pc:sldMk cId="3664412612" sldId="1800"/>
            <ac:spMk id="112" creationId="{D3D5FE1C-A804-441A-8C2D-E7CA2A570A21}"/>
          </ac:spMkLst>
        </pc:spChg>
        <pc:spChg chg="mod">
          <ac:chgData name="Luiz Macedo" userId="7b3c29be-d15f-473b-8b79-40ce79eed9b8" providerId="ADAL" clId="{E02F46DC-E0B5-4390-8BB3-0DE87E96D786}" dt="2022-04-01T19:34:39.531" v="88" actId="14100"/>
          <ac:spMkLst>
            <pc:docMk/>
            <pc:sldMk cId="3664412612" sldId="1800"/>
            <ac:spMk id="113" creationId="{3C8BD2D1-474E-49E7-8D42-C4D9909643E9}"/>
          </ac:spMkLst>
        </pc:spChg>
        <pc:spChg chg="mod">
          <ac:chgData name="Luiz Macedo" userId="7b3c29be-d15f-473b-8b79-40ce79eed9b8" providerId="ADAL" clId="{E02F46DC-E0B5-4390-8BB3-0DE87E96D786}" dt="2022-04-01T19:34:39.531" v="88" actId="14100"/>
          <ac:spMkLst>
            <pc:docMk/>
            <pc:sldMk cId="3664412612" sldId="1800"/>
            <ac:spMk id="114" creationId="{9AE45C8B-F080-4F52-9FF7-FDD986A7FC93}"/>
          </ac:spMkLst>
        </pc:spChg>
        <pc:spChg chg="mod">
          <ac:chgData name="Luiz Macedo" userId="7b3c29be-d15f-473b-8b79-40ce79eed9b8" providerId="ADAL" clId="{E02F46DC-E0B5-4390-8BB3-0DE87E96D786}" dt="2022-04-01T19:34:39.531" v="88" actId="14100"/>
          <ac:spMkLst>
            <pc:docMk/>
            <pc:sldMk cId="3664412612" sldId="1800"/>
            <ac:spMk id="115" creationId="{59BAD836-5533-4BC4-8BA2-D4A14D92A7A9}"/>
          </ac:spMkLst>
        </pc:spChg>
        <pc:spChg chg="mod">
          <ac:chgData name="Luiz Macedo" userId="7b3c29be-d15f-473b-8b79-40ce79eed9b8" providerId="ADAL" clId="{E02F46DC-E0B5-4390-8BB3-0DE87E96D786}" dt="2022-04-01T19:34:39.531" v="88" actId="14100"/>
          <ac:spMkLst>
            <pc:docMk/>
            <pc:sldMk cId="3664412612" sldId="1800"/>
            <ac:spMk id="140" creationId="{519F151E-9BE8-4AE5-B8A8-0E61ED53F6DC}"/>
          </ac:spMkLst>
        </pc:spChg>
        <pc:grpChg chg="mod">
          <ac:chgData name="Luiz Macedo" userId="7b3c29be-d15f-473b-8b79-40ce79eed9b8" providerId="ADAL" clId="{E02F46DC-E0B5-4390-8BB3-0DE87E96D786}" dt="2022-04-01T19:34:39.531" v="88" actId="14100"/>
          <ac:grpSpMkLst>
            <pc:docMk/>
            <pc:sldMk cId="3664412612" sldId="1800"/>
            <ac:grpSpMk id="11" creationId="{1C272258-0638-4884-844C-650771C9EB79}"/>
          </ac:grpSpMkLst>
        </pc:grpChg>
        <pc:grpChg chg="mod">
          <ac:chgData name="Luiz Macedo" userId="7b3c29be-d15f-473b-8b79-40ce79eed9b8" providerId="ADAL" clId="{E02F46DC-E0B5-4390-8BB3-0DE87E96D786}" dt="2022-04-01T19:34:39.531" v="88" actId="14100"/>
          <ac:grpSpMkLst>
            <pc:docMk/>
            <pc:sldMk cId="3664412612" sldId="1800"/>
            <ac:grpSpMk id="59" creationId="{8BD27434-4C96-442E-9306-97F673A7B0EC}"/>
          </ac:grpSpMkLst>
        </pc:grpChg>
        <pc:grpChg chg="mod">
          <ac:chgData name="Luiz Macedo" userId="7b3c29be-d15f-473b-8b79-40ce79eed9b8" providerId="ADAL" clId="{E02F46DC-E0B5-4390-8BB3-0DE87E96D786}" dt="2022-04-01T19:34:39.531" v="88" actId="14100"/>
          <ac:grpSpMkLst>
            <pc:docMk/>
            <pc:sldMk cId="3664412612" sldId="1800"/>
            <ac:grpSpMk id="107" creationId="{A6280F6B-E9A0-4EBD-B978-BE93E3E0A9D7}"/>
          </ac:grpSpMkLst>
        </pc:grpChg>
        <pc:grpChg chg="mod">
          <ac:chgData name="Luiz Macedo" userId="7b3c29be-d15f-473b-8b79-40ce79eed9b8" providerId="ADAL" clId="{E02F46DC-E0B5-4390-8BB3-0DE87E96D786}" dt="2022-04-01T19:34:39.531" v="88" actId="14100"/>
          <ac:grpSpMkLst>
            <pc:docMk/>
            <pc:sldMk cId="3664412612" sldId="1800"/>
            <ac:grpSpMk id="1024" creationId="{6D89C48A-7925-43D6-9D9B-A25B71CEC86C}"/>
          </ac:grpSpMkLst>
        </pc:grpChg>
        <pc:picChg chg="mod">
          <ac:chgData name="Luiz Macedo" userId="7b3c29be-d15f-473b-8b79-40ce79eed9b8" providerId="ADAL" clId="{E02F46DC-E0B5-4390-8BB3-0DE87E96D786}" dt="2022-04-01T19:34:39.531" v="88" actId="14100"/>
          <ac:picMkLst>
            <pc:docMk/>
            <pc:sldMk cId="3664412612" sldId="1800"/>
            <ac:picMk id="3" creationId="{916A4FD7-B74B-4B9E-926A-C4D8B8D4119E}"/>
          </ac:picMkLst>
        </pc:picChg>
        <pc:picChg chg="mod">
          <ac:chgData name="Luiz Macedo" userId="7b3c29be-d15f-473b-8b79-40ce79eed9b8" providerId="ADAL" clId="{E02F46DC-E0B5-4390-8BB3-0DE87E96D786}" dt="2022-04-01T19:34:39.531" v="88" actId="14100"/>
          <ac:picMkLst>
            <pc:docMk/>
            <pc:sldMk cId="3664412612" sldId="1800"/>
            <ac:picMk id="6"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7" creationId="{44F74E85-F93C-4709-9E78-08B5E7720295}"/>
          </ac:picMkLst>
        </pc:picChg>
        <pc:picChg chg="mod">
          <ac:chgData name="Luiz Macedo" userId="7b3c29be-d15f-473b-8b79-40ce79eed9b8" providerId="ADAL" clId="{E02F46DC-E0B5-4390-8BB3-0DE87E96D786}" dt="2022-04-01T19:34:39.531" v="88" actId="14100"/>
          <ac:picMkLst>
            <pc:docMk/>
            <pc:sldMk cId="3664412612" sldId="1800"/>
            <ac:picMk id="8" creationId="{9E4A323A-10E4-47D6-A7BD-3D82803381D8}"/>
          </ac:picMkLst>
        </pc:picChg>
        <pc:picChg chg="mod">
          <ac:chgData name="Luiz Macedo" userId="7b3c29be-d15f-473b-8b79-40ce79eed9b8" providerId="ADAL" clId="{E02F46DC-E0B5-4390-8BB3-0DE87E96D786}" dt="2022-04-01T19:34:39.531" v="88" actId="14100"/>
          <ac:picMkLst>
            <pc:docMk/>
            <pc:sldMk cId="3664412612" sldId="1800"/>
            <ac:picMk id="10" creationId="{0AA995E5-50A2-49F4-A24D-9DD915D1FE2E}"/>
          </ac:picMkLst>
        </pc:picChg>
        <pc:picChg chg="mod">
          <ac:chgData name="Luiz Macedo" userId="7b3c29be-d15f-473b-8b79-40ce79eed9b8" providerId="ADAL" clId="{E02F46DC-E0B5-4390-8BB3-0DE87E96D786}" dt="2022-04-01T19:34:39.531" v="88" actId="14100"/>
          <ac:picMkLst>
            <pc:docMk/>
            <pc:sldMk cId="3664412612" sldId="1800"/>
            <ac:picMk id="12" creationId="{6A2E001B-4E05-4F45-84C5-676789387A4A}"/>
          </ac:picMkLst>
        </pc:picChg>
        <pc:picChg chg="mod">
          <ac:chgData name="Luiz Macedo" userId="7b3c29be-d15f-473b-8b79-40ce79eed9b8" providerId="ADAL" clId="{E02F46DC-E0B5-4390-8BB3-0DE87E96D786}" dt="2022-04-01T19:34:39.531" v="88" actId="14100"/>
          <ac:picMkLst>
            <pc:docMk/>
            <pc:sldMk cId="3664412612" sldId="1800"/>
            <ac:picMk id="14" creationId="{8FD6CF8D-405A-44C5-B92E-C940E6E8D057}"/>
          </ac:picMkLst>
        </pc:picChg>
        <pc:picChg chg="mod">
          <ac:chgData name="Luiz Macedo" userId="7b3c29be-d15f-473b-8b79-40ce79eed9b8" providerId="ADAL" clId="{E02F46DC-E0B5-4390-8BB3-0DE87E96D786}" dt="2022-04-01T19:34:39.531" v="88" actId="14100"/>
          <ac:picMkLst>
            <pc:docMk/>
            <pc:sldMk cId="3664412612" sldId="1800"/>
            <ac:picMk id="21" creationId="{BBEF92B9-7B01-4EBC-9839-4D90CB364C99}"/>
          </ac:picMkLst>
        </pc:picChg>
        <pc:picChg chg="mod">
          <ac:chgData name="Luiz Macedo" userId="7b3c29be-d15f-473b-8b79-40ce79eed9b8" providerId="ADAL" clId="{E02F46DC-E0B5-4390-8BB3-0DE87E96D786}" dt="2022-04-01T19:34:39.531" v="88" actId="14100"/>
          <ac:picMkLst>
            <pc:docMk/>
            <pc:sldMk cId="3664412612" sldId="1800"/>
            <ac:picMk id="25" creationId="{824C082A-9A44-476F-80ED-52EE6A5B1F3B}"/>
          </ac:picMkLst>
        </pc:picChg>
        <pc:picChg chg="mod">
          <ac:chgData name="Luiz Macedo" userId="7b3c29be-d15f-473b-8b79-40ce79eed9b8" providerId="ADAL" clId="{E02F46DC-E0B5-4390-8BB3-0DE87E96D786}" dt="2022-04-01T19:34:39.531" v="88" actId="14100"/>
          <ac:picMkLst>
            <pc:docMk/>
            <pc:sldMk cId="3664412612" sldId="1800"/>
            <ac:picMk id="30" creationId="{72AF57D4-760A-4906-A07A-F9DD2BEE2101}"/>
          </ac:picMkLst>
        </pc:picChg>
        <pc:picChg chg="mod">
          <ac:chgData name="Luiz Macedo" userId="7b3c29be-d15f-473b-8b79-40ce79eed9b8" providerId="ADAL" clId="{E02F46DC-E0B5-4390-8BB3-0DE87E96D786}" dt="2022-04-01T19:34:39.531" v="88" actId="14100"/>
          <ac:picMkLst>
            <pc:docMk/>
            <pc:sldMk cId="3664412612" sldId="1800"/>
            <ac:picMk id="32" creationId="{B5492B99-3F56-4F75-87C5-3CDA519FBD88}"/>
          </ac:picMkLst>
        </pc:picChg>
        <pc:picChg chg="mod">
          <ac:chgData name="Luiz Macedo" userId="7b3c29be-d15f-473b-8b79-40ce79eed9b8" providerId="ADAL" clId="{E02F46DC-E0B5-4390-8BB3-0DE87E96D786}" dt="2022-04-01T19:34:39.531" v="88" actId="14100"/>
          <ac:picMkLst>
            <pc:docMk/>
            <pc:sldMk cId="3664412612" sldId="1800"/>
            <ac:picMk id="68" creationId="{C31F2A62-EA8C-43C6-BDF2-4474B10E0A7D}"/>
          </ac:picMkLst>
        </pc:picChg>
        <pc:picChg chg="mod">
          <ac:chgData name="Luiz Macedo" userId="7b3c29be-d15f-473b-8b79-40ce79eed9b8" providerId="ADAL" clId="{E02F46DC-E0B5-4390-8BB3-0DE87E96D786}" dt="2022-04-01T19:34:39.531" v="88" actId="14100"/>
          <ac:picMkLst>
            <pc:docMk/>
            <pc:sldMk cId="3664412612" sldId="1800"/>
            <ac:picMk id="70"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76"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78"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79"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0"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2"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4"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5"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6" creationId="{3A57B6C4-F932-47A0-83B7-EC2E07826B83}"/>
          </ac:picMkLst>
        </pc:picChg>
        <pc:picChg chg="mod">
          <ac:chgData name="Luiz Macedo" userId="7b3c29be-d15f-473b-8b79-40ce79eed9b8" providerId="ADAL" clId="{E02F46DC-E0B5-4390-8BB3-0DE87E96D786}" dt="2022-04-01T19:34:39.531" v="88" actId="14100"/>
          <ac:picMkLst>
            <pc:docMk/>
            <pc:sldMk cId="3664412612" sldId="1800"/>
            <ac:picMk id="87"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8"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89" creationId="{D3CFB3CE-68BE-490C-8DFD-9661212440EB}"/>
          </ac:picMkLst>
        </pc:picChg>
        <pc:picChg chg="mod">
          <ac:chgData name="Luiz Macedo" userId="7b3c29be-d15f-473b-8b79-40ce79eed9b8" providerId="ADAL" clId="{E02F46DC-E0B5-4390-8BB3-0DE87E96D786}" dt="2022-04-01T19:34:39.531" v="88" actId="14100"/>
          <ac:picMkLst>
            <pc:docMk/>
            <pc:sldMk cId="3664412612" sldId="1800"/>
            <ac:picMk id="94"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98" creationId="{00000000-0000-0000-0000-000000000000}"/>
          </ac:picMkLst>
        </pc:picChg>
        <pc:picChg chg="mod">
          <ac:chgData name="Luiz Macedo" userId="7b3c29be-d15f-473b-8b79-40ce79eed9b8" providerId="ADAL" clId="{E02F46DC-E0B5-4390-8BB3-0DE87E96D786}" dt="2022-04-01T19:34:39.531" v="88" actId="14100"/>
          <ac:picMkLst>
            <pc:docMk/>
            <pc:sldMk cId="3664412612" sldId="1800"/>
            <ac:picMk id="102" creationId="{259E4BAE-E1D6-49B1-AD2E-426180FF01F9}"/>
          </ac:picMkLst>
        </pc:picChg>
        <pc:picChg chg="mod">
          <ac:chgData name="Luiz Macedo" userId="7b3c29be-d15f-473b-8b79-40ce79eed9b8" providerId="ADAL" clId="{E02F46DC-E0B5-4390-8BB3-0DE87E96D786}" dt="2022-04-01T19:34:39.531" v="88" actId="14100"/>
          <ac:picMkLst>
            <pc:docMk/>
            <pc:sldMk cId="3664412612" sldId="1800"/>
            <ac:picMk id="125" creationId="{D53FDFDC-E5C6-42E6-AFFB-92373FC0C6D1}"/>
          </ac:picMkLst>
        </pc:picChg>
        <pc:picChg chg="mod">
          <ac:chgData name="Luiz Macedo" userId="7b3c29be-d15f-473b-8b79-40ce79eed9b8" providerId="ADAL" clId="{E02F46DC-E0B5-4390-8BB3-0DE87E96D786}" dt="2022-04-01T19:34:39.531" v="88" actId="14100"/>
          <ac:picMkLst>
            <pc:docMk/>
            <pc:sldMk cId="3664412612" sldId="1800"/>
            <ac:picMk id="126" creationId="{163AB505-987B-4346-85CE-3FAA679F58CB}"/>
          </ac:picMkLst>
        </pc:picChg>
        <pc:picChg chg="mod">
          <ac:chgData name="Luiz Macedo" userId="7b3c29be-d15f-473b-8b79-40ce79eed9b8" providerId="ADAL" clId="{E02F46DC-E0B5-4390-8BB3-0DE87E96D786}" dt="2022-04-01T19:34:39.531" v="88" actId="14100"/>
          <ac:picMkLst>
            <pc:docMk/>
            <pc:sldMk cId="3664412612" sldId="1800"/>
            <ac:picMk id="128" creationId="{43E33CDE-D419-4F01-ABE3-92B4FD5F0D88}"/>
          </ac:picMkLst>
        </pc:picChg>
        <pc:picChg chg="mod">
          <ac:chgData name="Luiz Macedo" userId="7b3c29be-d15f-473b-8b79-40ce79eed9b8" providerId="ADAL" clId="{E02F46DC-E0B5-4390-8BB3-0DE87E96D786}" dt="2022-04-01T19:34:39.531" v="88" actId="14100"/>
          <ac:picMkLst>
            <pc:docMk/>
            <pc:sldMk cId="3664412612" sldId="1800"/>
            <ac:picMk id="139" creationId="{14601DCB-2890-432B-93F2-9346A1547D80}"/>
          </ac:picMkLst>
        </pc:picChg>
        <pc:cxnChg chg="mod">
          <ac:chgData name="Luiz Macedo" userId="7b3c29be-d15f-473b-8b79-40ce79eed9b8" providerId="ADAL" clId="{E02F46DC-E0B5-4390-8BB3-0DE87E96D786}" dt="2022-04-01T19:34:39.531" v="88" actId="14100"/>
          <ac:cxnSpMkLst>
            <pc:docMk/>
            <pc:sldMk cId="3664412612" sldId="1800"/>
            <ac:cxnSpMk id="118" creationId="{A9DAB877-79DB-4B2B-A089-533CEDE0E55C}"/>
          </ac:cxnSpMkLst>
        </pc:cxnChg>
        <pc:cxnChg chg="mod">
          <ac:chgData name="Luiz Macedo" userId="7b3c29be-d15f-473b-8b79-40ce79eed9b8" providerId="ADAL" clId="{E02F46DC-E0B5-4390-8BB3-0DE87E96D786}" dt="2022-04-01T19:34:39.531" v="88" actId="14100"/>
          <ac:cxnSpMkLst>
            <pc:docMk/>
            <pc:sldMk cId="3664412612" sldId="1800"/>
            <ac:cxnSpMk id="119" creationId="{759FA25E-E465-4333-8782-7177244C9541}"/>
          </ac:cxnSpMkLst>
        </pc:cxnChg>
        <pc:cxnChg chg="mod">
          <ac:chgData name="Luiz Macedo" userId="7b3c29be-d15f-473b-8b79-40ce79eed9b8" providerId="ADAL" clId="{E02F46DC-E0B5-4390-8BB3-0DE87E96D786}" dt="2022-04-01T19:34:39.531" v="88" actId="14100"/>
          <ac:cxnSpMkLst>
            <pc:docMk/>
            <pc:sldMk cId="3664412612" sldId="1800"/>
            <ac:cxnSpMk id="120" creationId="{E3EB8976-B896-4796-9636-3B590CCC86E2}"/>
          </ac:cxnSpMkLst>
        </pc:cxnChg>
      </pc:sldChg>
      <pc:sldChg chg="del">
        <pc:chgData name="Luiz Macedo" userId="7b3c29be-d15f-473b-8b79-40ce79eed9b8" providerId="ADAL" clId="{E02F46DC-E0B5-4390-8BB3-0DE87E96D786}" dt="2022-05-02T19:57:31.278" v="382" actId="2696"/>
        <pc:sldMkLst>
          <pc:docMk/>
          <pc:sldMk cId="2896021063" sldId="1901"/>
        </pc:sldMkLst>
      </pc:sldChg>
      <pc:sldChg chg="addSp delSp modSp mod">
        <pc:chgData name="Luiz Macedo" userId="7b3c29be-d15f-473b-8b79-40ce79eed9b8" providerId="ADAL" clId="{E02F46DC-E0B5-4390-8BB3-0DE87E96D786}" dt="2022-04-01T16:37:18.774" v="74" actId="478"/>
        <pc:sldMkLst>
          <pc:docMk/>
          <pc:sldMk cId="1933311374" sldId="1909"/>
        </pc:sldMkLst>
        <pc:picChg chg="add del">
          <ac:chgData name="Luiz Macedo" userId="7b3c29be-d15f-473b-8b79-40ce79eed9b8" providerId="ADAL" clId="{E02F46DC-E0B5-4390-8BB3-0DE87E96D786}" dt="2022-04-01T16:37:18.774" v="74" actId="478"/>
          <ac:picMkLst>
            <pc:docMk/>
            <pc:sldMk cId="1933311374" sldId="1909"/>
            <ac:picMk id="4" creationId="{75621671-64B3-46B6-BC66-F2B09385B30F}"/>
          </ac:picMkLst>
        </pc:picChg>
        <pc:picChg chg="add del mod">
          <ac:chgData name="Luiz Macedo" userId="7b3c29be-d15f-473b-8b79-40ce79eed9b8" providerId="ADAL" clId="{E02F46DC-E0B5-4390-8BB3-0DE87E96D786}" dt="2022-04-01T16:37:18.307" v="73"/>
          <ac:picMkLst>
            <pc:docMk/>
            <pc:sldMk cId="1933311374" sldId="1909"/>
            <ac:picMk id="5" creationId="{B8482237-DDBC-41D1-8151-2D220CCE9FE9}"/>
          </ac:picMkLst>
        </pc:picChg>
      </pc:sldChg>
      <pc:sldChg chg="delSp modSp mod">
        <pc:chgData name="Luiz Macedo" userId="7b3c29be-d15f-473b-8b79-40ce79eed9b8" providerId="ADAL" clId="{E02F46DC-E0B5-4390-8BB3-0DE87E96D786}" dt="2022-04-01T20:23:14.835" v="377" actId="1036"/>
        <pc:sldMkLst>
          <pc:docMk/>
          <pc:sldMk cId="718775267" sldId="1916"/>
        </pc:sldMkLst>
        <pc:spChg chg="mod">
          <ac:chgData name="Luiz Macedo" userId="7b3c29be-d15f-473b-8b79-40ce79eed9b8" providerId="ADAL" clId="{E02F46DC-E0B5-4390-8BB3-0DE87E96D786}" dt="2022-04-01T20:23:14.835" v="377" actId="1036"/>
          <ac:spMkLst>
            <pc:docMk/>
            <pc:sldMk cId="718775267" sldId="1916"/>
            <ac:spMk id="12" creationId="{47BF8898-9FD2-45C1-99D0-CFBBB378AE6F}"/>
          </ac:spMkLst>
        </pc:spChg>
        <pc:spChg chg="mod">
          <ac:chgData name="Luiz Macedo" userId="7b3c29be-d15f-473b-8b79-40ce79eed9b8" providerId="ADAL" clId="{E02F46DC-E0B5-4390-8BB3-0DE87E96D786}" dt="2022-04-01T20:23:14.835" v="377" actId="1036"/>
          <ac:spMkLst>
            <pc:docMk/>
            <pc:sldMk cId="718775267" sldId="1916"/>
            <ac:spMk id="13" creationId="{69F6E19C-7234-42BB-AE1D-C3A9083FA659}"/>
          </ac:spMkLst>
        </pc:spChg>
        <pc:spChg chg="mod">
          <ac:chgData name="Luiz Macedo" userId="7b3c29be-d15f-473b-8b79-40ce79eed9b8" providerId="ADAL" clId="{E02F46DC-E0B5-4390-8BB3-0DE87E96D786}" dt="2022-04-01T20:23:14.835" v="377" actId="1036"/>
          <ac:spMkLst>
            <pc:docMk/>
            <pc:sldMk cId="718775267" sldId="1916"/>
            <ac:spMk id="17" creationId="{88B5F330-6D07-4644-96D9-7E2DB77083F3}"/>
          </ac:spMkLst>
        </pc:spChg>
        <pc:spChg chg="mod">
          <ac:chgData name="Luiz Macedo" userId="7b3c29be-d15f-473b-8b79-40ce79eed9b8" providerId="ADAL" clId="{E02F46DC-E0B5-4390-8BB3-0DE87E96D786}" dt="2022-04-01T20:23:14.835" v="377" actId="1036"/>
          <ac:spMkLst>
            <pc:docMk/>
            <pc:sldMk cId="718775267" sldId="1916"/>
            <ac:spMk id="21" creationId="{5305A334-18DC-41CC-A0A1-C5722C724BD4}"/>
          </ac:spMkLst>
        </pc:spChg>
        <pc:spChg chg="del">
          <ac:chgData name="Luiz Macedo" userId="7b3c29be-d15f-473b-8b79-40ce79eed9b8" providerId="ADAL" clId="{E02F46DC-E0B5-4390-8BB3-0DE87E96D786}" dt="2022-03-11T02:40:02.313" v="0" actId="478"/>
          <ac:spMkLst>
            <pc:docMk/>
            <pc:sldMk cId="718775267" sldId="1916"/>
            <ac:spMk id="25" creationId="{3E7A9697-D6DB-447B-8EE0-4EC48645BBFA}"/>
          </ac:spMkLst>
        </pc:spChg>
        <pc:picChg chg="mod">
          <ac:chgData name="Luiz Macedo" userId="7b3c29be-d15f-473b-8b79-40ce79eed9b8" providerId="ADAL" clId="{E02F46DC-E0B5-4390-8BB3-0DE87E96D786}" dt="2022-04-01T20:23:14.835" v="377" actId="1036"/>
          <ac:picMkLst>
            <pc:docMk/>
            <pc:sldMk cId="718775267" sldId="1916"/>
            <ac:picMk id="4" creationId="{35E6E702-E01D-4A1E-B332-819F199594F9}"/>
          </ac:picMkLst>
        </pc:picChg>
      </pc:sldChg>
      <pc:sldChg chg="modSp mod">
        <pc:chgData name="Luiz Macedo" userId="7b3c29be-d15f-473b-8b79-40ce79eed9b8" providerId="ADAL" clId="{E02F46DC-E0B5-4390-8BB3-0DE87E96D786}" dt="2022-03-30T21:44:47.250" v="45" actId="20577"/>
        <pc:sldMkLst>
          <pc:docMk/>
          <pc:sldMk cId="2690299215" sldId="1947"/>
        </pc:sldMkLst>
        <pc:spChg chg="mod">
          <ac:chgData name="Luiz Macedo" userId="7b3c29be-d15f-473b-8b79-40ce79eed9b8" providerId="ADAL" clId="{E02F46DC-E0B5-4390-8BB3-0DE87E96D786}" dt="2022-03-30T21:44:47.250" v="45" actId="20577"/>
          <ac:spMkLst>
            <pc:docMk/>
            <pc:sldMk cId="2690299215" sldId="1947"/>
            <ac:spMk id="17" creationId="{00000000-0000-0000-0000-000000000000}"/>
          </ac:spMkLst>
        </pc:spChg>
      </pc:sldChg>
      <pc:sldChg chg="addSp delSp modSp mod delAnim modAnim modNotesTx">
        <pc:chgData name="Luiz Macedo" userId="7b3c29be-d15f-473b-8b79-40ce79eed9b8" providerId="ADAL" clId="{E02F46DC-E0B5-4390-8BB3-0DE87E96D786}" dt="2022-04-01T19:44:46.761" v="360" actId="6549"/>
        <pc:sldMkLst>
          <pc:docMk/>
          <pc:sldMk cId="59849674" sldId="1951"/>
        </pc:sldMkLst>
        <pc:spChg chg="mod ord">
          <ac:chgData name="Luiz Macedo" userId="7b3c29be-d15f-473b-8b79-40ce79eed9b8" providerId="ADAL" clId="{E02F46DC-E0B5-4390-8BB3-0DE87E96D786}" dt="2022-04-01T19:40:34.199" v="307" actId="1035"/>
          <ac:spMkLst>
            <pc:docMk/>
            <pc:sldMk cId="59849674" sldId="1951"/>
            <ac:spMk id="4" creationId="{5187828C-4B03-43E6-BA79-BC497BBC890F}"/>
          </ac:spMkLst>
        </pc:spChg>
        <pc:spChg chg="mod">
          <ac:chgData name="Luiz Macedo" userId="7b3c29be-d15f-473b-8b79-40ce79eed9b8" providerId="ADAL" clId="{E02F46DC-E0B5-4390-8BB3-0DE87E96D786}" dt="2022-04-01T19:42:03.083" v="313" actId="1036"/>
          <ac:spMkLst>
            <pc:docMk/>
            <pc:sldMk cId="59849674" sldId="1951"/>
            <ac:spMk id="13" creationId="{632D7E5F-4850-41B8-9B31-85418745F29B}"/>
          </ac:spMkLst>
        </pc:spChg>
        <pc:spChg chg="add del mod">
          <ac:chgData name="Luiz Macedo" userId="7b3c29be-d15f-473b-8b79-40ce79eed9b8" providerId="ADAL" clId="{E02F46DC-E0B5-4390-8BB3-0DE87E96D786}" dt="2022-04-01T19:37:56.624" v="217"/>
          <ac:spMkLst>
            <pc:docMk/>
            <pc:sldMk cId="59849674" sldId="1951"/>
            <ac:spMk id="46" creationId="{B9534796-FC2D-4EEF-88F2-18A6487C1AF7}"/>
          </ac:spMkLst>
        </pc:spChg>
        <pc:spChg chg="mod">
          <ac:chgData name="Luiz Macedo" userId="7b3c29be-d15f-473b-8b79-40ce79eed9b8" providerId="ADAL" clId="{E02F46DC-E0B5-4390-8BB3-0DE87E96D786}" dt="2022-04-01T19:37:52.662" v="216"/>
          <ac:spMkLst>
            <pc:docMk/>
            <pc:sldMk cId="59849674" sldId="1951"/>
            <ac:spMk id="48" creationId="{04167262-F36B-4CB6-A28E-D05FD0414E1E}"/>
          </ac:spMkLst>
        </pc:spChg>
        <pc:spChg chg="mod">
          <ac:chgData name="Luiz Macedo" userId="7b3c29be-d15f-473b-8b79-40ce79eed9b8" providerId="ADAL" clId="{E02F46DC-E0B5-4390-8BB3-0DE87E96D786}" dt="2022-04-01T19:37:52.662" v="216"/>
          <ac:spMkLst>
            <pc:docMk/>
            <pc:sldMk cId="59849674" sldId="1951"/>
            <ac:spMk id="49" creationId="{0430373D-AB96-4C9F-8D83-CE1B375E9529}"/>
          </ac:spMkLst>
        </pc:spChg>
        <pc:spChg chg="mod">
          <ac:chgData name="Luiz Macedo" userId="7b3c29be-d15f-473b-8b79-40ce79eed9b8" providerId="ADAL" clId="{E02F46DC-E0B5-4390-8BB3-0DE87E96D786}" dt="2022-04-01T19:37:52.662" v="216"/>
          <ac:spMkLst>
            <pc:docMk/>
            <pc:sldMk cId="59849674" sldId="1951"/>
            <ac:spMk id="50" creationId="{704D6054-E916-4588-AD01-7936C772D07A}"/>
          </ac:spMkLst>
        </pc:spChg>
        <pc:spChg chg="add del mod">
          <ac:chgData name="Luiz Macedo" userId="7b3c29be-d15f-473b-8b79-40ce79eed9b8" providerId="ADAL" clId="{E02F46DC-E0B5-4390-8BB3-0DE87E96D786}" dt="2022-04-01T19:37:56.624" v="217"/>
          <ac:spMkLst>
            <pc:docMk/>
            <pc:sldMk cId="59849674" sldId="1951"/>
            <ac:spMk id="54" creationId="{B4D672EF-CD01-45B0-B062-E1E8CF68E696}"/>
          </ac:spMkLst>
        </pc:spChg>
        <pc:spChg chg="mod">
          <ac:chgData name="Luiz Macedo" userId="7b3c29be-d15f-473b-8b79-40ce79eed9b8" providerId="ADAL" clId="{E02F46DC-E0B5-4390-8BB3-0DE87E96D786}" dt="2022-04-01T19:37:52.662" v="216"/>
          <ac:spMkLst>
            <pc:docMk/>
            <pc:sldMk cId="59849674" sldId="1951"/>
            <ac:spMk id="56" creationId="{F3EA9D16-35A8-42C6-A0D7-6CDED726247F}"/>
          </ac:spMkLst>
        </pc:spChg>
        <pc:spChg chg="mod">
          <ac:chgData name="Luiz Macedo" userId="7b3c29be-d15f-473b-8b79-40ce79eed9b8" providerId="ADAL" clId="{E02F46DC-E0B5-4390-8BB3-0DE87E96D786}" dt="2022-04-01T19:37:52.662" v="216"/>
          <ac:spMkLst>
            <pc:docMk/>
            <pc:sldMk cId="59849674" sldId="1951"/>
            <ac:spMk id="57" creationId="{5CB8C761-56C8-4FD5-9947-700F97353FB3}"/>
          </ac:spMkLst>
        </pc:spChg>
        <pc:spChg chg="add del mod">
          <ac:chgData name="Luiz Macedo" userId="7b3c29be-d15f-473b-8b79-40ce79eed9b8" providerId="ADAL" clId="{E02F46DC-E0B5-4390-8BB3-0DE87E96D786}" dt="2022-04-01T19:37:56.624" v="217"/>
          <ac:spMkLst>
            <pc:docMk/>
            <pc:sldMk cId="59849674" sldId="1951"/>
            <ac:spMk id="58" creationId="{B56F69A3-9168-4122-93A6-627AE769D288}"/>
          </ac:spMkLst>
        </pc:spChg>
        <pc:spChg chg="add del mod">
          <ac:chgData name="Luiz Macedo" userId="7b3c29be-d15f-473b-8b79-40ce79eed9b8" providerId="ADAL" clId="{E02F46DC-E0B5-4390-8BB3-0DE87E96D786}" dt="2022-04-01T19:37:56.624" v="217"/>
          <ac:spMkLst>
            <pc:docMk/>
            <pc:sldMk cId="59849674" sldId="1951"/>
            <ac:spMk id="59" creationId="{95C42FCB-0D98-4674-AC45-8E35B09766C1}"/>
          </ac:spMkLst>
        </pc:spChg>
        <pc:spChg chg="add del mod">
          <ac:chgData name="Luiz Macedo" userId="7b3c29be-d15f-473b-8b79-40ce79eed9b8" providerId="ADAL" clId="{E02F46DC-E0B5-4390-8BB3-0DE87E96D786}" dt="2022-04-01T19:37:56.624" v="217"/>
          <ac:spMkLst>
            <pc:docMk/>
            <pc:sldMk cId="59849674" sldId="1951"/>
            <ac:spMk id="66" creationId="{CD850C1B-EAEC-408C-8C60-692904F517D3}"/>
          </ac:spMkLst>
        </pc:spChg>
        <pc:spChg chg="mod">
          <ac:chgData name="Luiz Macedo" userId="7b3c29be-d15f-473b-8b79-40ce79eed9b8" providerId="ADAL" clId="{E02F46DC-E0B5-4390-8BB3-0DE87E96D786}" dt="2022-04-01T19:37:52.662" v="216"/>
          <ac:spMkLst>
            <pc:docMk/>
            <pc:sldMk cId="59849674" sldId="1951"/>
            <ac:spMk id="68" creationId="{40B9704F-3468-45CD-A21F-E420085F27EC}"/>
          </ac:spMkLst>
        </pc:spChg>
        <pc:spChg chg="mod">
          <ac:chgData name="Luiz Macedo" userId="7b3c29be-d15f-473b-8b79-40ce79eed9b8" providerId="ADAL" clId="{E02F46DC-E0B5-4390-8BB3-0DE87E96D786}" dt="2022-04-01T19:37:52.662" v="216"/>
          <ac:spMkLst>
            <pc:docMk/>
            <pc:sldMk cId="59849674" sldId="1951"/>
            <ac:spMk id="69" creationId="{1422AFCA-F1C5-40C5-AA40-E18775777CB4}"/>
          </ac:spMkLst>
        </pc:spChg>
        <pc:spChg chg="mod">
          <ac:chgData name="Luiz Macedo" userId="7b3c29be-d15f-473b-8b79-40ce79eed9b8" providerId="ADAL" clId="{E02F46DC-E0B5-4390-8BB3-0DE87E96D786}" dt="2022-04-01T19:37:52.662" v="216"/>
          <ac:spMkLst>
            <pc:docMk/>
            <pc:sldMk cId="59849674" sldId="1951"/>
            <ac:spMk id="70" creationId="{ADCE973D-35CB-47FE-B3D4-283E3ED7DD67}"/>
          </ac:spMkLst>
        </pc:spChg>
        <pc:spChg chg="mod">
          <ac:chgData name="Luiz Macedo" userId="7b3c29be-d15f-473b-8b79-40ce79eed9b8" providerId="ADAL" clId="{E02F46DC-E0B5-4390-8BB3-0DE87E96D786}" dt="2022-04-01T19:37:52.662" v="216"/>
          <ac:spMkLst>
            <pc:docMk/>
            <pc:sldMk cId="59849674" sldId="1951"/>
            <ac:spMk id="71" creationId="{B4BC8A9F-D5FC-4104-8139-D6C948367D68}"/>
          </ac:spMkLst>
        </pc:spChg>
        <pc:spChg chg="mod">
          <ac:chgData name="Luiz Macedo" userId="7b3c29be-d15f-473b-8b79-40ce79eed9b8" providerId="ADAL" clId="{E02F46DC-E0B5-4390-8BB3-0DE87E96D786}" dt="2022-04-01T19:37:52.662" v="216"/>
          <ac:spMkLst>
            <pc:docMk/>
            <pc:sldMk cId="59849674" sldId="1951"/>
            <ac:spMk id="72" creationId="{B657E35E-1FF4-49CB-8A75-D4ABF4ED6B02}"/>
          </ac:spMkLst>
        </pc:spChg>
        <pc:spChg chg="mod">
          <ac:chgData name="Luiz Macedo" userId="7b3c29be-d15f-473b-8b79-40ce79eed9b8" providerId="ADAL" clId="{E02F46DC-E0B5-4390-8BB3-0DE87E96D786}" dt="2022-04-01T19:37:52.662" v="216"/>
          <ac:spMkLst>
            <pc:docMk/>
            <pc:sldMk cId="59849674" sldId="1951"/>
            <ac:spMk id="73" creationId="{98385FE5-C21B-4A35-83D7-183CD3EA85D3}"/>
          </ac:spMkLst>
        </pc:spChg>
        <pc:spChg chg="mod">
          <ac:chgData name="Luiz Macedo" userId="7b3c29be-d15f-473b-8b79-40ce79eed9b8" providerId="ADAL" clId="{E02F46DC-E0B5-4390-8BB3-0DE87E96D786}" dt="2022-04-01T19:37:52.662" v="216"/>
          <ac:spMkLst>
            <pc:docMk/>
            <pc:sldMk cId="59849674" sldId="1951"/>
            <ac:spMk id="74" creationId="{B933B12A-45D2-4287-A0E1-D422D8AEEC6A}"/>
          </ac:spMkLst>
        </pc:spChg>
        <pc:spChg chg="add del mod">
          <ac:chgData name="Luiz Macedo" userId="7b3c29be-d15f-473b-8b79-40ce79eed9b8" providerId="ADAL" clId="{E02F46DC-E0B5-4390-8BB3-0DE87E96D786}" dt="2022-04-01T19:37:56.624" v="217"/>
          <ac:spMkLst>
            <pc:docMk/>
            <pc:sldMk cId="59849674" sldId="1951"/>
            <ac:spMk id="81" creationId="{C2BD41BE-C77B-4BC6-8C61-A33842E54DA1}"/>
          </ac:spMkLst>
        </pc:spChg>
        <pc:spChg chg="mod">
          <ac:chgData name="Luiz Macedo" userId="7b3c29be-d15f-473b-8b79-40ce79eed9b8" providerId="ADAL" clId="{E02F46DC-E0B5-4390-8BB3-0DE87E96D786}" dt="2022-04-01T19:37:52.662" v="216"/>
          <ac:spMkLst>
            <pc:docMk/>
            <pc:sldMk cId="59849674" sldId="1951"/>
            <ac:spMk id="94" creationId="{2F328857-D66E-45C7-9249-5D21E2901318}"/>
          </ac:spMkLst>
        </pc:spChg>
        <pc:spChg chg="mod">
          <ac:chgData name="Luiz Macedo" userId="7b3c29be-d15f-473b-8b79-40ce79eed9b8" providerId="ADAL" clId="{E02F46DC-E0B5-4390-8BB3-0DE87E96D786}" dt="2022-04-01T19:38:08.872" v="218"/>
          <ac:spMkLst>
            <pc:docMk/>
            <pc:sldMk cId="59849674" sldId="1951"/>
            <ac:spMk id="104" creationId="{6353B62A-F536-41B1-8D09-40B5A597156D}"/>
          </ac:spMkLst>
        </pc:spChg>
        <pc:spChg chg="mod">
          <ac:chgData name="Luiz Macedo" userId="7b3c29be-d15f-473b-8b79-40ce79eed9b8" providerId="ADAL" clId="{E02F46DC-E0B5-4390-8BB3-0DE87E96D786}" dt="2022-04-01T19:38:08.872" v="218"/>
          <ac:spMkLst>
            <pc:docMk/>
            <pc:sldMk cId="59849674" sldId="1951"/>
            <ac:spMk id="105" creationId="{D39C4844-B69B-4697-8010-93DAE37B6B9E}"/>
          </ac:spMkLst>
        </pc:spChg>
        <pc:spChg chg="mod">
          <ac:chgData name="Luiz Macedo" userId="7b3c29be-d15f-473b-8b79-40ce79eed9b8" providerId="ADAL" clId="{E02F46DC-E0B5-4390-8BB3-0DE87E96D786}" dt="2022-04-01T19:38:08.872" v="218"/>
          <ac:spMkLst>
            <pc:docMk/>
            <pc:sldMk cId="59849674" sldId="1951"/>
            <ac:spMk id="106" creationId="{F5082D26-2C6A-46D9-B5C1-2C0987B8FFCF}"/>
          </ac:spMkLst>
        </pc:spChg>
        <pc:spChg chg="mod">
          <ac:chgData name="Luiz Macedo" userId="7b3c29be-d15f-473b-8b79-40ce79eed9b8" providerId="ADAL" clId="{E02F46DC-E0B5-4390-8BB3-0DE87E96D786}" dt="2022-04-01T19:38:08.872" v="218"/>
          <ac:spMkLst>
            <pc:docMk/>
            <pc:sldMk cId="59849674" sldId="1951"/>
            <ac:spMk id="108" creationId="{376320C5-E7FE-451A-8348-77C8EFC5426A}"/>
          </ac:spMkLst>
        </pc:spChg>
        <pc:spChg chg="mod">
          <ac:chgData name="Luiz Macedo" userId="7b3c29be-d15f-473b-8b79-40ce79eed9b8" providerId="ADAL" clId="{E02F46DC-E0B5-4390-8BB3-0DE87E96D786}" dt="2022-04-01T19:38:08.872" v="218"/>
          <ac:spMkLst>
            <pc:docMk/>
            <pc:sldMk cId="59849674" sldId="1951"/>
            <ac:spMk id="109" creationId="{2C366BB2-886B-401F-8662-60E106DCD9F4}"/>
          </ac:spMkLst>
        </pc:spChg>
        <pc:spChg chg="add del mod">
          <ac:chgData name="Luiz Macedo" userId="7b3c29be-d15f-473b-8b79-40ce79eed9b8" providerId="ADAL" clId="{E02F46DC-E0B5-4390-8BB3-0DE87E96D786}" dt="2022-04-01T19:38:11.303" v="219"/>
          <ac:spMkLst>
            <pc:docMk/>
            <pc:sldMk cId="59849674" sldId="1951"/>
            <ac:spMk id="110" creationId="{D44D17E6-ED4A-4FB2-80DC-B533458B36E1}"/>
          </ac:spMkLst>
        </pc:spChg>
        <pc:spChg chg="add del mod">
          <ac:chgData name="Luiz Macedo" userId="7b3c29be-d15f-473b-8b79-40ce79eed9b8" providerId="ADAL" clId="{E02F46DC-E0B5-4390-8BB3-0DE87E96D786}" dt="2022-04-01T19:38:11.303" v="219"/>
          <ac:spMkLst>
            <pc:docMk/>
            <pc:sldMk cId="59849674" sldId="1951"/>
            <ac:spMk id="111" creationId="{0DD1CF00-443A-40E4-889B-A7D76576B91B}"/>
          </ac:spMkLst>
        </pc:spChg>
        <pc:spChg chg="add del mod">
          <ac:chgData name="Luiz Macedo" userId="7b3c29be-d15f-473b-8b79-40ce79eed9b8" providerId="ADAL" clId="{E02F46DC-E0B5-4390-8BB3-0DE87E96D786}" dt="2022-04-01T19:38:11.303" v="219"/>
          <ac:spMkLst>
            <pc:docMk/>
            <pc:sldMk cId="59849674" sldId="1951"/>
            <ac:spMk id="118" creationId="{8AACA5EC-6117-48A4-A931-0F1DAF7C4F18}"/>
          </ac:spMkLst>
        </pc:spChg>
        <pc:spChg chg="mod">
          <ac:chgData name="Luiz Macedo" userId="7b3c29be-d15f-473b-8b79-40ce79eed9b8" providerId="ADAL" clId="{E02F46DC-E0B5-4390-8BB3-0DE87E96D786}" dt="2022-04-01T19:38:08.872" v="218"/>
          <ac:spMkLst>
            <pc:docMk/>
            <pc:sldMk cId="59849674" sldId="1951"/>
            <ac:spMk id="120" creationId="{82989566-F346-424D-9BE0-3ABA0617E392}"/>
          </ac:spMkLst>
        </pc:spChg>
        <pc:spChg chg="mod">
          <ac:chgData name="Luiz Macedo" userId="7b3c29be-d15f-473b-8b79-40ce79eed9b8" providerId="ADAL" clId="{E02F46DC-E0B5-4390-8BB3-0DE87E96D786}" dt="2022-04-01T19:38:08.872" v="218"/>
          <ac:spMkLst>
            <pc:docMk/>
            <pc:sldMk cId="59849674" sldId="1951"/>
            <ac:spMk id="121" creationId="{5035E9F9-3A1A-4E5D-9016-EFBBD6B94DAD}"/>
          </ac:spMkLst>
        </pc:spChg>
        <pc:spChg chg="mod">
          <ac:chgData name="Luiz Macedo" userId="7b3c29be-d15f-473b-8b79-40ce79eed9b8" providerId="ADAL" clId="{E02F46DC-E0B5-4390-8BB3-0DE87E96D786}" dt="2022-04-01T19:38:08.872" v="218"/>
          <ac:spMkLst>
            <pc:docMk/>
            <pc:sldMk cId="59849674" sldId="1951"/>
            <ac:spMk id="122" creationId="{98A3EE71-90FE-49CB-B043-CE3CDD1E563B}"/>
          </ac:spMkLst>
        </pc:spChg>
        <pc:spChg chg="mod">
          <ac:chgData name="Luiz Macedo" userId="7b3c29be-d15f-473b-8b79-40ce79eed9b8" providerId="ADAL" clId="{E02F46DC-E0B5-4390-8BB3-0DE87E96D786}" dt="2022-04-01T19:38:08.872" v="218"/>
          <ac:spMkLst>
            <pc:docMk/>
            <pc:sldMk cId="59849674" sldId="1951"/>
            <ac:spMk id="123" creationId="{7844A7F2-58E7-474C-91A2-6B5ACF8B2C81}"/>
          </ac:spMkLst>
        </pc:spChg>
        <pc:spChg chg="mod">
          <ac:chgData name="Luiz Macedo" userId="7b3c29be-d15f-473b-8b79-40ce79eed9b8" providerId="ADAL" clId="{E02F46DC-E0B5-4390-8BB3-0DE87E96D786}" dt="2022-04-01T19:38:08.872" v="218"/>
          <ac:spMkLst>
            <pc:docMk/>
            <pc:sldMk cId="59849674" sldId="1951"/>
            <ac:spMk id="124" creationId="{9810058C-9CEE-4DF8-B4BD-9032A9AD2E5C}"/>
          </ac:spMkLst>
        </pc:spChg>
        <pc:spChg chg="mod">
          <ac:chgData name="Luiz Macedo" userId="7b3c29be-d15f-473b-8b79-40ce79eed9b8" providerId="ADAL" clId="{E02F46DC-E0B5-4390-8BB3-0DE87E96D786}" dt="2022-04-01T19:38:08.872" v="218"/>
          <ac:spMkLst>
            <pc:docMk/>
            <pc:sldMk cId="59849674" sldId="1951"/>
            <ac:spMk id="125" creationId="{412437AB-775B-4D2C-A39D-8AD27A036713}"/>
          </ac:spMkLst>
        </pc:spChg>
        <pc:spChg chg="mod">
          <ac:chgData name="Luiz Macedo" userId="7b3c29be-d15f-473b-8b79-40ce79eed9b8" providerId="ADAL" clId="{E02F46DC-E0B5-4390-8BB3-0DE87E96D786}" dt="2022-04-01T19:38:08.872" v="218"/>
          <ac:spMkLst>
            <pc:docMk/>
            <pc:sldMk cId="59849674" sldId="1951"/>
            <ac:spMk id="126" creationId="{294B5596-F5FB-4207-9CEB-E883B6F09D02}"/>
          </ac:spMkLst>
        </pc:spChg>
        <pc:spChg chg="add del mod">
          <ac:chgData name="Luiz Macedo" userId="7b3c29be-d15f-473b-8b79-40ce79eed9b8" providerId="ADAL" clId="{E02F46DC-E0B5-4390-8BB3-0DE87E96D786}" dt="2022-04-01T19:38:11.303" v="219"/>
          <ac:spMkLst>
            <pc:docMk/>
            <pc:sldMk cId="59849674" sldId="1951"/>
            <ac:spMk id="133" creationId="{F2216E99-C2BC-47E6-AF80-75F6EEA1C096}"/>
          </ac:spMkLst>
        </pc:spChg>
        <pc:spChg chg="mod">
          <ac:chgData name="Luiz Macedo" userId="7b3c29be-d15f-473b-8b79-40ce79eed9b8" providerId="ADAL" clId="{E02F46DC-E0B5-4390-8BB3-0DE87E96D786}" dt="2022-04-01T19:38:08.872" v="218"/>
          <ac:spMkLst>
            <pc:docMk/>
            <pc:sldMk cId="59849674" sldId="1951"/>
            <ac:spMk id="146" creationId="{6E58D148-6FF1-485D-9637-40E7C6C586EA}"/>
          </ac:spMkLst>
        </pc:spChg>
        <pc:spChg chg="add mod ord">
          <ac:chgData name="Luiz Macedo" userId="7b3c29be-d15f-473b-8b79-40ce79eed9b8" providerId="ADAL" clId="{E02F46DC-E0B5-4390-8BB3-0DE87E96D786}" dt="2022-04-01T19:43:25.587" v="339" actId="1076"/>
          <ac:spMkLst>
            <pc:docMk/>
            <pc:sldMk cId="59849674" sldId="1951"/>
            <ac:spMk id="155" creationId="{BACA42E1-F40B-456A-8C51-9A6104FE4FDA}"/>
          </ac:spMkLst>
        </pc:spChg>
        <pc:spChg chg="mod topLvl">
          <ac:chgData name="Luiz Macedo" userId="7b3c29be-d15f-473b-8b79-40ce79eed9b8" providerId="ADAL" clId="{E02F46DC-E0B5-4390-8BB3-0DE87E96D786}" dt="2022-04-01T19:44:19.891" v="359" actId="1036"/>
          <ac:spMkLst>
            <pc:docMk/>
            <pc:sldMk cId="59849674" sldId="1951"/>
            <ac:spMk id="157" creationId="{6D317192-39EC-42F1-BC43-BEC313A848C5}"/>
          </ac:spMkLst>
        </pc:spChg>
        <pc:spChg chg="mod topLvl">
          <ac:chgData name="Luiz Macedo" userId="7b3c29be-d15f-473b-8b79-40ce79eed9b8" providerId="ADAL" clId="{E02F46DC-E0B5-4390-8BB3-0DE87E96D786}" dt="2022-04-01T19:42:56.928" v="327" actId="165"/>
          <ac:spMkLst>
            <pc:docMk/>
            <pc:sldMk cId="59849674" sldId="1951"/>
            <ac:spMk id="158" creationId="{7E0EBFC7-D6D6-463F-A22A-306298A049FB}"/>
          </ac:spMkLst>
        </pc:spChg>
        <pc:spChg chg="mod topLvl">
          <ac:chgData name="Luiz Macedo" userId="7b3c29be-d15f-473b-8b79-40ce79eed9b8" providerId="ADAL" clId="{E02F46DC-E0B5-4390-8BB3-0DE87E96D786}" dt="2022-04-01T19:43:20.579" v="337" actId="1035"/>
          <ac:spMkLst>
            <pc:docMk/>
            <pc:sldMk cId="59849674" sldId="1951"/>
            <ac:spMk id="159" creationId="{AC876C8A-632F-4E1F-AFE4-F05C0BF7EAA0}"/>
          </ac:spMkLst>
        </pc:spChg>
        <pc:spChg chg="add mod">
          <ac:chgData name="Luiz Macedo" userId="7b3c29be-d15f-473b-8b79-40ce79eed9b8" providerId="ADAL" clId="{E02F46DC-E0B5-4390-8BB3-0DE87E96D786}" dt="2022-04-01T19:38:24.497" v="222"/>
          <ac:spMkLst>
            <pc:docMk/>
            <pc:sldMk cId="59849674" sldId="1951"/>
            <ac:spMk id="163" creationId="{D1AC78AE-49F7-4D49-9042-F3618CEB9284}"/>
          </ac:spMkLst>
        </pc:spChg>
        <pc:spChg chg="mod">
          <ac:chgData name="Luiz Macedo" userId="7b3c29be-d15f-473b-8b79-40ce79eed9b8" providerId="ADAL" clId="{E02F46DC-E0B5-4390-8BB3-0DE87E96D786}" dt="2022-04-01T19:39:20.165" v="248" actId="1036"/>
          <ac:spMkLst>
            <pc:docMk/>
            <pc:sldMk cId="59849674" sldId="1951"/>
            <ac:spMk id="165" creationId="{0FF65ACF-4453-433D-BFC6-76B50D6BD344}"/>
          </ac:spMkLst>
        </pc:spChg>
        <pc:spChg chg="mod">
          <ac:chgData name="Luiz Macedo" userId="7b3c29be-d15f-473b-8b79-40ce79eed9b8" providerId="ADAL" clId="{E02F46DC-E0B5-4390-8BB3-0DE87E96D786}" dt="2022-04-01T19:39:20.165" v="248" actId="1036"/>
          <ac:spMkLst>
            <pc:docMk/>
            <pc:sldMk cId="59849674" sldId="1951"/>
            <ac:spMk id="166" creationId="{C4F569B0-DC48-4834-BEC2-2611EDC530F6}"/>
          </ac:spMkLst>
        </pc:spChg>
        <pc:spChg chg="add mod">
          <ac:chgData name="Luiz Macedo" userId="7b3c29be-d15f-473b-8b79-40ce79eed9b8" providerId="ADAL" clId="{E02F46DC-E0B5-4390-8BB3-0DE87E96D786}" dt="2022-04-01T19:44:19.891" v="359" actId="1036"/>
          <ac:spMkLst>
            <pc:docMk/>
            <pc:sldMk cId="59849674" sldId="1951"/>
            <ac:spMk id="167" creationId="{A19D0A82-4542-407D-BBA6-BC3E632D2EC0}"/>
          </ac:spMkLst>
        </pc:spChg>
        <pc:spChg chg="add mod">
          <ac:chgData name="Luiz Macedo" userId="7b3c29be-d15f-473b-8b79-40ce79eed9b8" providerId="ADAL" clId="{E02F46DC-E0B5-4390-8BB3-0DE87E96D786}" dt="2022-04-01T19:43:46.551" v="342" actId="1076"/>
          <ac:spMkLst>
            <pc:docMk/>
            <pc:sldMk cId="59849674" sldId="1951"/>
            <ac:spMk id="168" creationId="{92A8253E-558A-40A0-9D10-83C5CAF0B4F2}"/>
          </ac:spMkLst>
        </pc:spChg>
        <pc:spChg chg="add mod">
          <ac:chgData name="Luiz Macedo" userId="7b3c29be-d15f-473b-8b79-40ce79eed9b8" providerId="ADAL" clId="{E02F46DC-E0B5-4390-8BB3-0DE87E96D786}" dt="2022-04-01T19:44:19.891" v="359" actId="1036"/>
          <ac:spMkLst>
            <pc:docMk/>
            <pc:sldMk cId="59849674" sldId="1951"/>
            <ac:spMk id="175" creationId="{1BECBD52-576A-4EA5-B0AE-FA161049DD6D}"/>
          </ac:spMkLst>
        </pc:spChg>
        <pc:spChg chg="mod">
          <ac:chgData name="Luiz Macedo" userId="7b3c29be-d15f-473b-8b79-40ce79eed9b8" providerId="ADAL" clId="{E02F46DC-E0B5-4390-8BB3-0DE87E96D786}" dt="2022-04-01T19:42:19.784" v="323" actId="1076"/>
          <ac:spMkLst>
            <pc:docMk/>
            <pc:sldMk cId="59849674" sldId="1951"/>
            <ac:spMk id="177" creationId="{34A80C33-7662-4206-BDC8-185E64176529}"/>
          </ac:spMkLst>
        </pc:spChg>
        <pc:spChg chg="mod">
          <ac:chgData name="Luiz Macedo" userId="7b3c29be-d15f-473b-8b79-40ce79eed9b8" providerId="ADAL" clId="{E02F46DC-E0B5-4390-8BB3-0DE87E96D786}" dt="2022-04-01T19:42:19.784" v="323" actId="1076"/>
          <ac:spMkLst>
            <pc:docMk/>
            <pc:sldMk cId="59849674" sldId="1951"/>
            <ac:spMk id="178" creationId="{DE5714AF-A629-473E-9D32-6EAFEC8731D7}"/>
          </ac:spMkLst>
        </pc:spChg>
        <pc:spChg chg="mod">
          <ac:chgData name="Luiz Macedo" userId="7b3c29be-d15f-473b-8b79-40ce79eed9b8" providerId="ADAL" clId="{E02F46DC-E0B5-4390-8BB3-0DE87E96D786}" dt="2022-04-01T19:42:19.784" v="323" actId="1076"/>
          <ac:spMkLst>
            <pc:docMk/>
            <pc:sldMk cId="59849674" sldId="1951"/>
            <ac:spMk id="179" creationId="{A19C20B6-5633-418F-8BC8-595F431409F6}"/>
          </ac:spMkLst>
        </pc:spChg>
        <pc:spChg chg="mod">
          <ac:chgData name="Luiz Macedo" userId="7b3c29be-d15f-473b-8b79-40ce79eed9b8" providerId="ADAL" clId="{E02F46DC-E0B5-4390-8BB3-0DE87E96D786}" dt="2022-04-01T19:42:19.784" v="323" actId="1076"/>
          <ac:spMkLst>
            <pc:docMk/>
            <pc:sldMk cId="59849674" sldId="1951"/>
            <ac:spMk id="180" creationId="{844B9E76-45FF-4AFF-91E5-525075505603}"/>
          </ac:spMkLst>
        </pc:spChg>
        <pc:spChg chg="mod">
          <ac:chgData name="Luiz Macedo" userId="7b3c29be-d15f-473b-8b79-40ce79eed9b8" providerId="ADAL" clId="{E02F46DC-E0B5-4390-8BB3-0DE87E96D786}" dt="2022-04-01T19:42:19.784" v="323" actId="1076"/>
          <ac:spMkLst>
            <pc:docMk/>
            <pc:sldMk cId="59849674" sldId="1951"/>
            <ac:spMk id="181" creationId="{FC09B72B-276C-4DA3-80A9-364FCB338050}"/>
          </ac:spMkLst>
        </pc:spChg>
        <pc:spChg chg="mod">
          <ac:chgData name="Luiz Macedo" userId="7b3c29be-d15f-473b-8b79-40ce79eed9b8" providerId="ADAL" clId="{E02F46DC-E0B5-4390-8BB3-0DE87E96D786}" dt="2022-04-01T19:42:19.784" v="323" actId="1076"/>
          <ac:spMkLst>
            <pc:docMk/>
            <pc:sldMk cId="59849674" sldId="1951"/>
            <ac:spMk id="182" creationId="{64F82A30-0C95-4269-95A3-2C443339691C}"/>
          </ac:spMkLst>
        </pc:spChg>
        <pc:spChg chg="mod">
          <ac:chgData name="Luiz Macedo" userId="7b3c29be-d15f-473b-8b79-40ce79eed9b8" providerId="ADAL" clId="{E02F46DC-E0B5-4390-8BB3-0DE87E96D786}" dt="2022-04-01T19:42:19.784" v="323" actId="1076"/>
          <ac:spMkLst>
            <pc:docMk/>
            <pc:sldMk cId="59849674" sldId="1951"/>
            <ac:spMk id="183" creationId="{35837A50-5244-448F-A398-7E9FAD6261D7}"/>
          </ac:spMkLst>
        </pc:spChg>
        <pc:spChg chg="add mod">
          <ac:chgData name="Luiz Macedo" userId="7b3c29be-d15f-473b-8b79-40ce79eed9b8" providerId="ADAL" clId="{E02F46DC-E0B5-4390-8BB3-0DE87E96D786}" dt="2022-04-01T19:44:19.891" v="359" actId="1036"/>
          <ac:spMkLst>
            <pc:docMk/>
            <pc:sldMk cId="59849674" sldId="1951"/>
            <ac:spMk id="190" creationId="{C6AEB22A-779A-4B79-9384-A0A6BAC8873A}"/>
          </ac:spMkLst>
        </pc:spChg>
        <pc:spChg chg="mod">
          <ac:chgData name="Luiz Macedo" userId="7b3c29be-d15f-473b-8b79-40ce79eed9b8" providerId="ADAL" clId="{E02F46DC-E0B5-4390-8BB3-0DE87E96D786}" dt="2022-04-01T19:40:28.147" v="300" actId="1036"/>
          <ac:spMkLst>
            <pc:docMk/>
            <pc:sldMk cId="59849674" sldId="1951"/>
            <ac:spMk id="203" creationId="{2256791C-E57E-41FE-987F-7B771769A8CD}"/>
          </ac:spMkLst>
        </pc:spChg>
        <pc:grpChg chg="add del mod">
          <ac:chgData name="Luiz Macedo" userId="7b3c29be-d15f-473b-8b79-40ce79eed9b8" providerId="ADAL" clId="{E02F46DC-E0B5-4390-8BB3-0DE87E96D786}" dt="2022-04-01T19:37:56.624" v="217"/>
          <ac:grpSpMkLst>
            <pc:docMk/>
            <pc:sldMk cId="59849674" sldId="1951"/>
            <ac:grpSpMk id="47" creationId="{15E49DF9-8307-4183-A520-006F517E6A55}"/>
          </ac:grpSpMkLst>
        </pc:grpChg>
        <pc:grpChg chg="add del mod">
          <ac:chgData name="Luiz Macedo" userId="7b3c29be-d15f-473b-8b79-40ce79eed9b8" providerId="ADAL" clId="{E02F46DC-E0B5-4390-8BB3-0DE87E96D786}" dt="2022-04-01T19:37:56.624" v="217"/>
          <ac:grpSpMkLst>
            <pc:docMk/>
            <pc:sldMk cId="59849674" sldId="1951"/>
            <ac:grpSpMk id="55" creationId="{FA5B4D67-CC4E-461B-94C2-76AC87F2382B}"/>
          </ac:grpSpMkLst>
        </pc:grpChg>
        <pc:grpChg chg="add del mod">
          <ac:chgData name="Luiz Macedo" userId="7b3c29be-d15f-473b-8b79-40ce79eed9b8" providerId="ADAL" clId="{E02F46DC-E0B5-4390-8BB3-0DE87E96D786}" dt="2022-04-01T19:37:56.624" v="217"/>
          <ac:grpSpMkLst>
            <pc:docMk/>
            <pc:sldMk cId="59849674" sldId="1951"/>
            <ac:grpSpMk id="67" creationId="{4F0DC8CA-3A99-4572-9374-17E90D366732}"/>
          </ac:grpSpMkLst>
        </pc:grpChg>
        <pc:grpChg chg="add del mod">
          <ac:chgData name="Luiz Macedo" userId="7b3c29be-d15f-473b-8b79-40ce79eed9b8" providerId="ADAL" clId="{E02F46DC-E0B5-4390-8BB3-0DE87E96D786}" dt="2022-04-01T19:37:56.624" v="217"/>
          <ac:grpSpMkLst>
            <pc:docMk/>
            <pc:sldMk cId="59849674" sldId="1951"/>
            <ac:grpSpMk id="90" creationId="{748CAA8B-F1F2-464B-B488-5B569D82D32A}"/>
          </ac:grpSpMkLst>
        </pc:grpChg>
        <pc:grpChg chg="add del mod">
          <ac:chgData name="Luiz Macedo" userId="7b3c29be-d15f-473b-8b79-40ce79eed9b8" providerId="ADAL" clId="{E02F46DC-E0B5-4390-8BB3-0DE87E96D786}" dt="2022-04-01T19:38:11.303" v="219"/>
          <ac:grpSpMkLst>
            <pc:docMk/>
            <pc:sldMk cId="59849674" sldId="1951"/>
            <ac:grpSpMk id="103" creationId="{3CAC5F2B-2C2B-475F-AF62-87C68F77E45F}"/>
          </ac:grpSpMkLst>
        </pc:grpChg>
        <pc:grpChg chg="add del mod">
          <ac:chgData name="Luiz Macedo" userId="7b3c29be-d15f-473b-8b79-40ce79eed9b8" providerId="ADAL" clId="{E02F46DC-E0B5-4390-8BB3-0DE87E96D786}" dt="2022-04-01T19:38:11.303" v="219"/>
          <ac:grpSpMkLst>
            <pc:docMk/>
            <pc:sldMk cId="59849674" sldId="1951"/>
            <ac:grpSpMk id="107" creationId="{1C179D53-8EC1-47F8-9C70-DBB8C8F70F9E}"/>
          </ac:grpSpMkLst>
        </pc:grpChg>
        <pc:grpChg chg="add del mod">
          <ac:chgData name="Luiz Macedo" userId="7b3c29be-d15f-473b-8b79-40ce79eed9b8" providerId="ADAL" clId="{E02F46DC-E0B5-4390-8BB3-0DE87E96D786}" dt="2022-04-01T19:38:11.303" v="219"/>
          <ac:grpSpMkLst>
            <pc:docMk/>
            <pc:sldMk cId="59849674" sldId="1951"/>
            <ac:grpSpMk id="119" creationId="{ADFD0673-432C-4469-A4AC-836CAC7FFACF}"/>
          </ac:grpSpMkLst>
        </pc:grpChg>
        <pc:grpChg chg="add del mod">
          <ac:chgData name="Luiz Macedo" userId="7b3c29be-d15f-473b-8b79-40ce79eed9b8" providerId="ADAL" clId="{E02F46DC-E0B5-4390-8BB3-0DE87E96D786}" dt="2022-04-01T19:38:11.303" v="219"/>
          <ac:grpSpMkLst>
            <pc:docMk/>
            <pc:sldMk cId="59849674" sldId="1951"/>
            <ac:grpSpMk id="142" creationId="{A0722EA9-99B2-4AC7-BDE9-890F12AF90E4}"/>
          </ac:grpSpMkLst>
        </pc:grpChg>
        <pc:grpChg chg="add del mod">
          <ac:chgData name="Luiz Macedo" userId="7b3c29be-d15f-473b-8b79-40ce79eed9b8" providerId="ADAL" clId="{E02F46DC-E0B5-4390-8BB3-0DE87E96D786}" dt="2022-04-01T19:42:56.928" v="327" actId="165"/>
          <ac:grpSpMkLst>
            <pc:docMk/>
            <pc:sldMk cId="59849674" sldId="1951"/>
            <ac:grpSpMk id="156" creationId="{2126884F-FC4C-4FFD-883E-F00D9A7FBB53}"/>
          </ac:grpSpMkLst>
        </pc:grpChg>
        <pc:grpChg chg="add mod">
          <ac:chgData name="Luiz Macedo" userId="7b3c29be-d15f-473b-8b79-40ce79eed9b8" providerId="ADAL" clId="{E02F46DC-E0B5-4390-8BB3-0DE87E96D786}" dt="2022-04-01T19:39:20.165" v="248" actId="1036"/>
          <ac:grpSpMkLst>
            <pc:docMk/>
            <pc:sldMk cId="59849674" sldId="1951"/>
            <ac:grpSpMk id="164" creationId="{75C3A7DA-F8EC-43BD-9A10-6A530B4BE2EA}"/>
          </ac:grpSpMkLst>
        </pc:grpChg>
        <pc:grpChg chg="add mod">
          <ac:chgData name="Luiz Macedo" userId="7b3c29be-d15f-473b-8b79-40ce79eed9b8" providerId="ADAL" clId="{E02F46DC-E0B5-4390-8BB3-0DE87E96D786}" dt="2022-04-01T19:42:19.784" v="323" actId="1076"/>
          <ac:grpSpMkLst>
            <pc:docMk/>
            <pc:sldMk cId="59849674" sldId="1951"/>
            <ac:grpSpMk id="176" creationId="{DEA278DE-2056-4313-A1A7-232C571DF520}"/>
          </ac:grpSpMkLst>
        </pc:grpChg>
        <pc:grpChg chg="add mod">
          <ac:chgData name="Luiz Macedo" userId="7b3c29be-d15f-473b-8b79-40ce79eed9b8" providerId="ADAL" clId="{E02F46DC-E0B5-4390-8BB3-0DE87E96D786}" dt="2022-04-01T19:40:21.597" v="287" actId="1035"/>
          <ac:grpSpMkLst>
            <pc:docMk/>
            <pc:sldMk cId="59849674" sldId="1951"/>
            <ac:grpSpMk id="199" creationId="{180C7A9E-5CC7-42C7-8FA9-01F68D112124}"/>
          </ac:grpSpMkLst>
        </pc:grpChg>
        <pc:picChg chg="del mod">
          <ac:chgData name="Luiz Macedo" userId="7b3c29be-d15f-473b-8b79-40ce79eed9b8" providerId="ADAL" clId="{E02F46DC-E0B5-4390-8BB3-0DE87E96D786}" dt="2022-04-01T19:34:44.902" v="90" actId="478"/>
          <ac:picMkLst>
            <pc:docMk/>
            <pc:sldMk cId="59849674" sldId="1951"/>
            <ac:picMk id="16" creationId="{698497F6-2819-4BA1-96FC-64D374D0C8E7}"/>
          </ac:picMkLst>
        </pc:picChg>
        <pc:picChg chg="add del mod">
          <ac:chgData name="Luiz Macedo" userId="7b3c29be-d15f-473b-8b79-40ce79eed9b8" providerId="ADAL" clId="{E02F46DC-E0B5-4390-8BB3-0DE87E96D786}" dt="2022-04-01T19:37:56.624" v="217"/>
          <ac:picMkLst>
            <pc:docMk/>
            <pc:sldMk cId="59849674" sldId="1951"/>
            <ac:picMk id="60" creationId="{322A1926-17D4-4EBE-A375-9F6543122B11}"/>
          </ac:picMkLst>
        </pc:picChg>
        <pc:picChg chg="add del mod">
          <ac:chgData name="Luiz Macedo" userId="7b3c29be-d15f-473b-8b79-40ce79eed9b8" providerId="ADAL" clId="{E02F46DC-E0B5-4390-8BB3-0DE87E96D786}" dt="2022-04-01T19:37:56.624" v="217"/>
          <ac:picMkLst>
            <pc:docMk/>
            <pc:sldMk cId="59849674" sldId="1951"/>
            <ac:picMk id="61" creationId="{3F7E497A-96C7-4150-8143-0EC8851636F6}"/>
          </ac:picMkLst>
        </pc:picChg>
        <pc:picChg chg="add del mod">
          <ac:chgData name="Luiz Macedo" userId="7b3c29be-d15f-473b-8b79-40ce79eed9b8" providerId="ADAL" clId="{E02F46DC-E0B5-4390-8BB3-0DE87E96D786}" dt="2022-04-01T19:37:56.624" v="217"/>
          <ac:picMkLst>
            <pc:docMk/>
            <pc:sldMk cId="59849674" sldId="1951"/>
            <ac:picMk id="62" creationId="{6E74C08A-9A2D-4F64-824F-118883563748}"/>
          </ac:picMkLst>
        </pc:picChg>
        <pc:picChg chg="add del mod">
          <ac:chgData name="Luiz Macedo" userId="7b3c29be-d15f-473b-8b79-40ce79eed9b8" providerId="ADAL" clId="{E02F46DC-E0B5-4390-8BB3-0DE87E96D786}" dt="2022-04-01T19:37:56.624" v="217"/>
          <ac:picMkLst>
            <pc:docMk/>
            <pc:sldMk cId="59849674" sldId="1951"/>
            <ac:picMk id="63" creationId="{458843FA-42EA-4F90-AC6A-49285C043195}"/>
          </ac:picMkLst>
        </pc:picChg>
        <pc:picChg chg="add del mod">
          <ac:chgData name="Luiz Macedo" userId="7b3c29be-d15f-473b-8b79-40ce79eed9b8" providerId="ADAL" clId="{E02F46DC-E0B5-4390-8BB3-0DE87E96D786}" dt="2022-04-01T19:37:56.624" v="217"/>
          <ac:picMkLst>
            <pc:docMk/>
            <pc:sldMk cId="59849674" sldId="1951"/>
            <ac:picMk id="64" creationId="{CB9BBED8-2BCC-4B47-B476-E92074B3FAF3}"/>
          </ac:picMkLst>
        </pc:picChg>
        <pc:picChg chg="add del mod">
          <ac:chgData name="Luiz Macedo" userId="7b3c29be-d15f-473b-8b79-40ce79eed9b8" providerId="ADAL" clId="{E02F46DC-E0B5-4390-8BB3-0DE87E96D786}" dt="2022-04-01T19:37:56.624" v="217"/>
          <ac:picMkLst>
            <pc:docMk/>
            <pc:sldMk cId="59849674" sldId="1951"/>
            <ac:picMk id="65" creationId="{C5E2CDC2-DCFF-43F8-B892-03F3F82184D4}"/>
          </ac:picMkLst>
        </pc:picChg>
        <pc:picChg chg="add del mod">
          <ac:chgData name="Luiz Macedo" userId="7b3c29be-d15f-473b-8b79-40ce79eed9b8" providerId="ADAL" clId="{E02F46DC-E0B5-4390-8BB3-0DE87E96D786}" dt="2022-04-01T19:37:56.624" v="217"/>
          <ac:picMkLst>
            <pc:docMk/>
            <pc:sldMk cId="59849674" sldId="1951"/>
            <ac:picMk id="75" creationId="{D3BAF6CB-24EF-4CA1-AC30-FB8C32EC0143}"/>
          </ac:picMkLst>
        </pc:picChg>
        <pc:picChg chg="add del mod">
          <ac:chgData name="Luiz Macedo" userId="7b3c29be-d15f-473b-8b79-40ce79eed9b8" providerId="ADAL" clId="{E02F46DC-E0B5-4390-8BB3-0DE87E96D786}" dt="2022-04-01T19:37:56.624" v="217"/>
          <ac:picMkLst>
            <pc:docMk/>
            <pc:sldMk cId="59849674" sldId="1951"/>
            <ac:picMk id="76" creationId="{3BDDFFD0-8F9A-4387-B804-9F3350DEA07E}"/>
          </ac:picMkLst>
        </pc:picChg>
        <pc:picChg chg="add del mod">
          <ac:chgData name="Luiz Macedo" userId="7b3c29be-d15f-473b-8b79-40ce79eed9b8" providerId="ADAL" clId="{E02F46DC-E0B5-4390-8BB3-0DE87E96D786}" dt="2022-04-01T19:37:56.624" v="217"/>
          <ac:picMkLst>
            <pc:docMk/>
            <pc:sldMk cId="59849674" sldId="1951"/>
            <ac:picMk id="77" creationId="{9884B48D-5DEC-47DD-A68D-7E7830D33E25}"/>
          </ac:picMkLst>
        </pc:picChg>
        <pc:picChg chg="add del mod">
          <ac:chgData name="Luiz Macedo" userId="7b3c29be-d15f-473b-8b79-40ce79eed9b8" providerId="ADAL" clId="{E02F46DC-E0B5-4390-8BB3-0DE87E96D786}" dt="2022-04-01T19:37:56.624" v="217"/>
          <ac:picMkLst>
            <pc:docMk/>
            <pc:sldMk cId="59849674" sldId="1951"/>
            <ac:picMk id="78" creationId="{D1C9FD6D-5B89-4410-AC42-43C215ABCBD6}"/>
          </ac:picMkLst>
        </pc:picChg>
        <pc:picChg chg="add del mod">
          <ac:chgData name="Luiz Macedo" userId="7b3c29be-d15f-473b-8b79-40ce79eed9b8" providerId="ADAL" clId="{E02F46DC-E0B5-4390-8BB3-0DE87E96D786}" dt="2022-04-01T19:37:56.624" v="217"/>
          <ac:picMkLst>
            <pc:docMk/>
            <pc:sldMk cId="59849674" sldId="1951"/>
            <ac:picMk id="79" creationId="{D58416B0-4FCA-47B5-958E-7E8C0AC0E2EB}"/>
          </ac:picMkLst>
        </pc:picChg>
        <pc:picChg chg="add del mod">
          <ac:chgData name="Luiz Macedo" userId="7b3c29be-d15f-473b-8b79-40ce79eed9b8" providerId="ADAL" clId="{E02F46DC-E0B5-4390-8BB3-0DE87E96D786}" dt="2022-04-01T19:37:56.624" v="217"/>
          <ac:picMkLst>
            <pc:docMk/>
            <pc:sldMk cId="59849674" sldId="1951"/>
            <ac:picMk id="80" creationId="{6A326D35-3DA9-4E12-8A22-7A7F0298B2FF}"/>
          </ac:picMkLst>
        </pc:picChg>
        <pc:picChg chg="add del mod">
          <ac:chgData name="Luiz Macedo" userId="7b3c29be-d15f-473b-8b79-40ce79eed9b8" providerId="ADAL" clId="{E02F46DC-E0B5-4390-8BB3-0DE87E96D786}" dt="2022-04-01T19:37:56.624" v="217"/>
          <ac:picMkLst>
            <pc:docMk/>
            <pc:sldMk cId="59849674" sldId="1951"/>
            <ac:picMk id="82" creationId="{E2B5998C-66C8-4A62-80A1-9B688A65C152}"/>
          </ac:picMkLst>
        </pc:picChg>
        <pc:picChg chg="add del mod">
          <ac:chgData name="Luiz Macedo" userId="7b3c29be-d15f-473b-8b79-40ce79eed9b8" providerId="ADAL" clId="{E02F46DC-E0B5-4390-8BB3-0DE87E96D786}" dt="2022-04-01T19:37:56.624" v="217"/>
          <ac:picMkLst>
            <pc:docMk/>
            <pc:sldMk cId="59849674" sldId="1951"/>
            <ac:picMk id="83" creationId="{E4F530ED-9AC3-497C-810C-7E981EFC3138}"/>
          </ac:picMkLst>
        </pc:picChg>
        <pc:picChg chg="add del mod">
          <ac:chgData name="Luiz Macedo" userId="7b3c29be-d15f-473b-8b79-40ce79eed9b8" providerId="ADAL" clId="{E02F46DC-E0B5-4390-8BB3-0DE87E96D786}" dt="2022-04-01T19:37:56.624" v="217"/>
          <ac:picMkLst>
            <pc:docMk/>
            <pc:sldMk cId="59849674" sldId="1951"/>
            <ac:picMk id="84" creationId="{A7025AAD-BB60-4A5E-8097-7572D4B8603E}"/>
          </ac:picMkLst>
        </pc:picChg>
        <pc:picChg chg="add del mod">
          <ac:chgData name="Luiz Macedo" userId="7b3c29be-d15f-473b-8b79-40ce79eed9b8" providerId="ADAL" clId="{E02F46DC-E0B5-4390-8BB3-0DE87E96D786}" dt="2022-04-01T19:37:56.624" v="217"/>
          <ac:picMkLst>
            <pc:docMk/>
            <pc:sldMk cId="59849674" sldId="1951"/>
            <ac:picMk id="85" creationId="{6887067A-C5C0-4F7A-BCE9-72FC12A7A6CA}"/>
          </ac:picMkLst>
        </pc:picChg>
        <pc:picChg chg="add del mod">
          <ac:chgData name="Luiz Macedo" userId="7b3c29be-d15f-473b-8b79-40ce79eed9b8" providerId="ADAL" clId="{E02F46DC-E0B5-4390-8BB3-0DE87E96D786}" dt="2022-04-01T19:37:56.624" v="217"/>
          <ac:picMkLst>
            <pc:docMk/>
            <pc:sldMk cId="59849674" sldId="1951"/>
            <ac:picMk id="86" creationId="{49D07C04-02D1-4B01-A1B9-71DC5132CED2}"/>
          </ac:picMkLst>
        </pc:picChg>
        <pc:picChg chg="add del mod">
          <ac:chgData name="Luiz Macedo" userId="7b3c29be-d15f-473b-8b79-40ce79eed9b8" providerId="ADAL" clId="{E02F46DC-E0B5-4390-8BB3-0DE87E96D786}" dt="2022-04-01T19:37:56.624" v="217"/>
          <ac:picMkLst>
            <pc:docMk/>
            <pc:sldMk cId="59849674" sldId="1951"/>
            <ac:picMk id="87" creationId="{3B787DE9-7F47-4573-B806-4B1CEA300EC7}"/>
          </ac:picMkLst>
        </pc:picChg>
        <pc:picChg chg="add del mod">
          <ac:chgData name="Luiz Macedo" userId="7b3c29be-d15f-473b-8b79-40ce79eed9b8" providerId="ADAL" clId="{E02F46DC-E0B5-4390-8BB3-0DE87E96D786}" dt="2022-04-01T19:37:56.624" v="217"/>
          <ac:picMkLst>
            <pc:docMk/>
            <pc:sldMk cId="59849674" sldId="1951"/>
            <ac:picMk id="88" creationId="{620F30AA-05CB-4A8E-A2B7-EAAE488BD755}"/>
          </ac:picMkLst>
        </pc:picChg>
        <pc:picChg chg="add del mod">
          <ac:chgData name="Luiz Macedo" userId="7b3c29be-d15f-473b-8b79-40ce79eed9b8" providerId="ADAL" clId="{E02F46DC-E0B5-4390-8BB3-0DE87E96D786}" dt="2022-04-01T19:37:56.624" v="217"/>
          <ac:picMkLst>
            <pc:docMk/>
            <pc:sldMk cId="59849674" sldId="1951"/>
            <ac:picMk id="89" creationId="{5C2F6307-5AB8-4B65-AF58-C8E8E9AA3F59}"/>
          </ac:picMkLst>
        </pc:picChg>
        <pc:picChg chg="mod">
          <ac:chgData name="Luiz Macedo" userId="7b3c29be-d15f-473b-8b79-40ce79eed9b8" providerId="ADAL" clId="{E02F46DC-E0B5-4390-8BB3-0DE87E96D786}" dt="2022-04-01T19:37:52.662" v="216"/>
          <ac:picMkLst>
            <pc:docMk/>
            <pc:sldMk cId="59849674" sldId="1951"/>
            <ac:picMk id="91" creationId="{A7693E3A-8A4F-4003-B432-4E41262ADD83}"/>
          </ac:picMkLst>
        </pc:picChg>
        <pc:picChg chg="mod">
          <ac:chgData name="Luiz Macedo" userId="7b3c29be-d15f-473b-8b79-40ce79eed9b8" providerId="ADAL" clId="{E02F46DC-E0B5-4390-8BB3-0DE87E96D786}" dt="2022-04-01T19:37:52.662" v="216"/>
          <ac:picMkLst>
            <pc:docMk/>
            <pc:sldMk cId="59849674" sldId="1951"/>
            <ac:picMk id="92" creationId="{6AB9A415-651B-4815-8674-694BC0B7FF22}"/>
          </ac:picMkLst>
        </pc:picChg>
        <pc:picChg chg="mod">
          <ac:chgData name="Luiz Macedo" userId="7b3c29be-d15f-473b-8b79-40ce79eed9b8" providerId="ADAL" clId="{E02F46DC-E0B5-4390-8BB3-0DE87E96D786}" dt="2022-04-01T19:37:52.662" v="216"/>
          <ac:picMkLst>
            <pc:docMk/>
            <pc:sldMk cId="59849674" sldId="1951"/>
            <ac:picMk id="93" creationId="{8D86AB57-3D6B-4E84-BB43-3C339C421F5F}"/>
          </ac:picMkLst>
        </pc:picChg>
        <pc:picChg chg="mod">
          <ac:chgData name="Luiz Macedo" userId="7b3c29be-d15f-473b-8b79-40ce79eed9b8" providerId="ADAL" clId="{E02F46DC-E0B5-4390-8BB3-0DE87E96D786}" dt="2022-04-01T19:37:52.662" v="216"/>
          <ac:picMkLst>
            <pc:docMk/>
            <pc:sldMk cId="59849674" sldId="1951"/>
            <ac:picMk id="95" creationId="{F3A3AE75-7199-4888-A1D2-78F4E72231C8}"/>
          </ac:picMkLst>
        </pc:picChg>
        <pc:picChg chg="mod">
          <ac:chgData name="Luiz Macedo" userId="7b3c29be-d15f-473b-8b79-40ce79eed9b8" providerId="ADAL" clId="{E02F46DC-E0B5-4390-8BB3-0DE87E96D786}" dt="2022-04-01T19:37:52.662" v="216"/>
          <ac:picMkLst>
            <pc:docMk/>
            <pc:sldMk cId="59849674" sldId="1951"/>
            <ac:picMk id="96" creationId="{21E8655E-79EB-48DC-8E19-A3BA4C3C0FF5}"/>
          </ac:picMkLst>
        </pc:picChg>
        <pc:picChg chg="mod">
          <ac:chgData name="Luiz Macedo" userId="7b3c29be-d15f-473b-8b79-40ce79eed9b8" providerId="ADAL" clId="{E02F46DC-E0B5-4390-8BB3-0DE87E96D786}" dt="2022-04-01T19:37:52.662" v="216"/>
          <ac:picMkLst>
            <pc:docMk/>
            <pc:sldMk cId="59849674" sldId="1951"/>
            <ac:picMk id="97" creationId="{D0E2BCDE-BB1D-44D4-AE9F-787C3679C9EA}"/>
          </ac:picMkLst>
        </pc:picChg>
        <pc:picChg chg="mod">
          <ac:chgData name="Luiz Macedo" userId="7b3c29be-d15f-473b-8b79-40ce79eed9b8" providerId="ADAL" clId="{E02F46DC-E0B5-4390-8BB3-0DE87E96D786}" dt="2022-04-01T19:37:52.662" v="216"/>
          <ac:picMkLst>
            <pc:docMk/>
            <pc:sldMk cId="59849674" sldId="1951"/>
            <ac:picMk id="98" creationId="{CC7B477A-8E5F-474E-A07E-4DC4E9E49687}"/>
          </ac:picMkLst>
        </pc:picChg>
        <pc:picChg chg="mod">
          <ac:chgData name="Luiz Macedo" userId="7b3c29be-d15f-473b-8b79-40ce79eed9b8" providerId="ADAL" clId="{E02F46DC-E0B5-4390-8BB3-0DE87E96D786}" dt="2022-04-01T19:37:52.662" v="216"/>
          <ac:picMkLst>
            <pc:docMk/>
            <pc:sldMk cId="59849674" sldId="1951"/>
            <ac:picMk id="99" creationId="{8EC201BA-E389-4E3A-BAC4-84BC507B65DF}"/>
          </ac:picMkLst>
        </pc:picChg>
        <pc:picChg chg="mod">
          <ac:chgData name="Luiz Macedo" userId="7b3c29be-d15f-473b-8b79-40ce79eed9b8" providerId="ADAL" clId="{E02F46DC-E0B5-4390-8BB3-0DE87E96D786}" dt="2022-04-01T19:37:52.662" v="216"/>
          <ac:picMkLst>
            <pc:docMk/>
            <pc:sldMk cId="59849674" sldId="1951"/>
            <ac:picMk id="100" creationId="{CAD36768-B42B-4D2A-B672-F61625FB04D4}"/>
          </ac:picMkLst>
        </pc:picChg>
        <pc:picChg chg="mod">
          <ac:chgData name="Luiz Macedo" userId="7b3c29be-d15f-473b-8b79-40ce79eed9b8" providerId="ADAL" clId="{E02F46DC-E0B5-4390-8BB3-0DE87E96D786}" dt="2022-04-01T19:37:52.662" v="216"/>
          <ac:picMkLst>
            <pc:docMk/>
            <pc:sldMk cId="59849674" sldId="1951"/>
            <ac:picMk id="101" creationId="{99F9C738-A9AC-4A1A-BC67-9FD797CB2D2B}"/>
          </ac:picMkLst>
        </pc:picChg>
        <pc:picChg chg="mod">
          <ac:chgData name="Luiz Macedo" userId="7b3c29be-d15f-473b-8b79-40ce79eed9b8" providerId="ADAL" clId="{E02F46DC-E0B5-4390-8BB3-0DE87E96D786}" dt="2022-04-01T19:37:52.662" v="216"/>
          <ac:picMkLst>
            <pc:docMk/>
            <pc:sldMk cId="59849674" sldId="1951"/>
            <ac:picMk id="102" creationId="{F82035D4-CCEF-44A6-A0A4-09F1AAC42F25}"/>
          </ac:picMkLst>
        </pc:picChg>
        <pc:picChg chg="add del mod">
          <ac:chgData name="Luiz Macedo" userId="7b3c29be-d15f-473b-8b79-40ce79eed9b8" providerId="ADAL" clId="{E02F46DC-E0B5-4390-8BB3-0DE87E96D786}" dt="2022-04-01T19:38:11.303" v="219"/>
          <ac:picMkLst>
            <pc:docMk/>
            <pc:sldMk cId="59849674" sldId="1951"/>
            <ac:picMk id="112" creationId="{A4122936-0F07-4D95-B203-71F5BEFAB2FD}"/>
          </ac:picMkLst>
        </pc:picChg>
        <pc:picChg chg="add del mod">
          <ac:chgData name="Luiz Macedo" userId="7b3c29be-d15f-473b-8b79-40ce79eed9b8" providerId="ADAL" clId="{E02F46DC-E0B5-4390-8BB3-0DE87E96D786}" dt="2022-04-01T19:38:11.303" v="219"/>
          <ac:picMkLst>
            <pc:docMk/>
            <pc:sldMk cId="59849674" sldId="1951"/>
            <ac:picMk id="113" creationId="{DE73498B-987A-4E4A-AFEE-143DFCB7A9FB}"/>
          </ac:picMkLst>
        </pc:picChg>
        <pc:picChg chg="add del mod">
          <ac:chgData name="Luiz Macedo" userId="7b3c29be-d15f-473b-8b79-40ce79eed9b8" providerId="ADAL" clId="{E02F46DC-E0B5-4390-8BB3-0DE87E96D786}" dt="2022-04-01T19:38:11.303" v="219"/>
          <ac:picMkLst>
            <pc:docMk/>
            <pc:sldMk cId="59849674" sldId="1951"/>
            <ac:picMk id="114" creationId="{ECF12810-422B-4C95-AD0D-CAC6E541B98B}"/>
          </ac:picMkLst>
        </pc:picChg>
        <pc:picChg chg="add del mod">
          <ac:chgData name="Luiz Macedo" userId="7b3c29be-d15f-473b-8b79-40ce79eed9b8" providerId="ADAL" clId="{E02F46DC-E0B5-4390-8BB3-0DE87E96D786}" dt="2022-04-01T19:38:11.303" v="219"/>
          <ac:picMkLst>
            <pc:docMk/>
            <pc:sldMk cId="59849674" sldId="1951"/>
            <ac:picMk id="115" creationId="{D47A5D38-0B5E-47F8-BEB0-396081191565}"/>
          </ac:picMkLst>
        </pc:picChg>
        <pc:picChg chg="add del mod">
          <ac:chgData name="Luiz Macedo" userId="7b3c29be-d15f-473b-8b79-40ce79eed9b8" providerId="ADAL" clId="{E02F46DC-E0B5-4390-8BB3-0DE87E96D786}" dt="2022-04-01T19:38:11.303" v="219"/>
          <ac:picMkLst>
            <pc:docMk/>
            <pc:sldMk cId="59849674" sldId="1951"/>
            <ac:picMk id="116" creationId="{CE8BC0C8-3ADF-4F91-BAA3-37492C8362AC}"/>
          </ac:picMkLst>
        </pc:picChg>
        <pc:picChg chg="add del mod">
          <ac:chgData name="Luiz Macedo" userId="7b3c29be-d15f-473b-8b79-40ce79eed9b8" providerId="ADAL" clId="{E02F46DC-E0B5-4390-8BB3-0DE87E96D786}" dt="2022-04-01T19:38:11.303" v="219"/>
          <ac:picMkLst>
            <pc:docMk/>
            <pc:sldMk cId="59849674" sldId="1951"/>
            <ac:picMk id="117" creationId="{23158083-C334-49C5-8433-1375C51D4BD2}"/>
          </ac:picMkLst>
        </pc:picChg>
        <pc:picChg chg="add del mod">
          <ac:chgData name="Luiz Macedo" userId="7b3c29be-d15f-473b-8b79-40ce79eed9b8" providerId="ADAL" clId="{E02F46DC-E0B5-4390-8BB3-0DE87E96D786}" dt="2022-04-01T19:38:11.303" v="219"/>
          <ac:picMkLst>
            <pc:docMk/>
            <pc:sldMk cId="59849674" sldId="1951"/>
            <ac:picMk id="127" creationId="{C61550DA-E250-4A2D-815A-840EBF7658F8}"/>
          </ac:picMkLst>
        </pc:picChg>
        <pc:picChg chg="add del mod">
          <ac:chgData name="Luiz Macedo" userId="7b3c29be-d15f-473b-8b79-40ce79eed9b8" providerId="ADAL" clId="{E02F46DC-E0B5-4390-8BB3-0DE87E96D786}" dt="2022-04-01T19:38:11.303" v="219"/>
          <ac:picMkLst>
            <pc:docMk/>
            <pc:sldMk cId="59849674" sldId="1951"/>
            <ac:picMk id="128" creationId="{D62E31F1-377A-4C09-9D11-61E036347CC9}"/>
          </ac:picMkLst>
        </pc:picChg>
        <pc:picChg chg="add del mod">
          <ac:chgData name="Luiz Macedo" userId="7b3c29be-d15f-473b-8b79-40ce79eed9b8" providerId="ADAL" clId="{E02F46DC-E0B5-4390-8BB3-0DE87E96D786}" dt="2022-04-01T19:38:11.303" v="219"/>
          <ac:picMkLst>
            <pc:docMk/>
            <pc:sldMk cId="59849674" sldId="1951"/>
            <ac:picMk id="129" creationId="{0EA67887-53BC-4951-B17E-078904181E54}"/>
          </ac:picMkLst>
        </pc:picChg>
        <pc:picChg chg="add del mod">
          <ac:chgData name="Luiz Macedo" userId="7b3c29be-d15f-473b-8b79-40ce79eed9b8" providerId="ADAL" clId="{E02F46DC-E0B5-4390-8BB3-0DE87E96D786}" dt="2022-04-01T19:38:11.303" v="219"/>
          <ac:picMkLst>
            <pc:docMk/>
            <pc:sldMk cId="59849674" sldId="1951"/>
            <ac:picMk id="130" creationId="{8DED5035-544F-412D-924A-F3E0AEE6A1DA}"/>
          </ac:picMkLst>
        </pc:picChg>
        <pc:picChg chg="add del mod">
          <ac:chgData name="Luiz Macedo" userId="7b3c29be-d15f-473b-8b79-40ce79eed9b8" providerId="ADAL" clId="{E02F46DC-E0B5-4390-8BB3-0DE87E96D786}" dt="2022-04-01T19:38:11.303" v="219"/>
          <ac:picMkLst>
            <pc:docMk/>
            <pc:sldMk cId="59849674" sldId="1951"/>
            <ac:picMk id="131" creationId="{000B99CC-31DE-41B7-ADFA-3D12DB56AE35}"/>
          </ac:picMkLst>
        </pc:picChg>
        <pc:picChg chg="add del mod">
          <ac:chgData name="Luiz Macedo" userId="7b3c29be-d15f-473b-8b79-40ce79eed9b8" providerId="ADAL" clId="{E02F46DC-E0B5-4390-8BB3-0DE87E96D786}" dt="2022-04-01T19:38:11.303" v="219"/>
          <ac:picMkLst>
            <pc:docMk/>
            <pc:sldMk cId="59849674" sldId="1951"/>
            <ac:picMk id="132" creationId="{E9C60891-3ADC-4F89-8FBD-586328F3A004}"/>
          </ac:picMkLst>
        </pc:picChg>
        <pc:picChg chg="add del mod">
          <ac:chgData name="Luiz Macedo" userId="7b3c29be-d15f-473b-8b79-40ce79eed9b8" providerId="ADAL" clId="{E02F46DC-E0B5-4390-8BB3-0DE87E96D786}" dt="2022-04-01T19:38:11.303" v="219"/>
          <ac:picMkLst>
            <pc:docMk/>
            <pc:sldMk cId="59849674" sldId="1951"/>
            <ac:picMk id="134" creationId="{6E2520BE-77E6-43B6-AE94-24EA701CA77A}"/>
          </ac:picMkLst>
        </pc:picChg>
        <pc:picChg chg="add del mod">
          <ac:chgData name="Luiz Macedo" userId="7b3c29be-d15f-473b-8b79-40ce79eed9b8" providerId="ADAL" clId="{E02F46DC-E0B5-4390-8BB3-0DE87E96D786}" dt="2022-04-01T19:38:11.303" v="219"/>
          <ac:picMkLst>
            <pc:docMk/>
            <pc:sldMk cId="59849674" sldId="1951"/>
            <ac:picMk id="135" creationId="{4A36FE50-0B6B-41B3-B002-243FFB7F576E}"/>
          </ac:picMkLst>
        </pc:picChg>
        <pc:picChg chg="add del mod">
          <ac:chgData name="Luiz Macedo" userId="7b3c29be-d15f-473b-8b79-40ce79eed9b8" providerId="ADAL" clId="{E02F46DC-E0B5-4390-8BB3-0DE87E96D786}" dt="2022-04-01T19:38:11.303" v="219"/>
          <ac:picMkLst>
            <pc:docMk/>
            <pc:sldMk cId="59849674" sldId="1951"/>
            <ac:picMk id="136" creationId="{879CDDE3-CD8F-44CB-A12E-93A5FC595547}"/>
          </ac:picMkLst>
        </pc:picChg>
        <pc:picChg chg="add del mod">
          <ac:chgData name="Luiz Macedo" userId="7b3c29be-d15f-473b-8b79-40ce79eed9b8" providerId="ADAL" clId="{E02F46DC-E0B5-4390-8BB3-0DE87E96D786}" dt="2022-04-01T19:38:11.303" v="219"/>
          <ac:picMkLst>
            <pc:docMk/>
            <pc:sldMk cId="59849674" sldId="1951"/>
            <ac:picMk id="137" creationId="{D1DB342E-9619-49C5-AD3F-FEB248E5EB32}"/>
          </ac:picMkLst>
        </pc:picChg>
        <pc:picChg chg="add del mod">
          <ac:chgData name="Luiz Macedo" userId="7b3c29be-d15f-473b-8b79-40ce79eed9b8" providerId="ADAL" clId="{E02F46DC-E0B5-4390-8BB3-0DE87E96D786}" dt="2022-04-01T19:38:11.303" v="219"/>
          <ac:picMkLst>
            <pc:docMk/>
            <pc:sldMk cId="59849674" sldId="1951"/>
            <ac:picMk id="138" creationId="{874AA3E6-DFEC-4833-A0DA-E926D83D3211}"/>
          </ac:picMkLst>
        </pc:picChg>
        <pc:picChg chg="add del mod">
          <ac:chgData name="Luiz Macedo" userId="7b3c29be-d15f-473b-8b79-40ce79eed9b8" providerId="ADAL" clId="{E02F46DC-E0B5-4390-8BB3-0DE87E96D786}" dt="2022-04-01T19:38:11.303" v="219"/>
          <ac:picMkLst>
            <pc:docMk/>
            <pc:sldMk cId="59849674" sldId="1951"/>
            <ac:picMk id="139" creationId="{19E90D4D-2023-4B31-8C09-5F10909DEF2E}"/>
          </ac:picMkLst>
        </pc:picChg>
        <pc:picChg chg="add del mod">
          <ac:chgData name="Luiz Macedo" userId="7b3c29be-d15f-473b-8b79-40ce79eed9b8" providerId="ADAL" clId="{E02F46DC-E0B5-4390-8BB3-0DE87E96D786}" dt="2022-04-01T19:38:11.303" v="219"/>
          <ac:picMkLst>
            <pc:docMk/>
            <pc:sldMk cId="59849674" sldId="1951"/>
            <ac:picMk id="140" creationId="{61A30D50-262F-4B20-A8A2-BEE40DF73B6B}"/>
          </ac:picMkLst>
        </pc:picChg>
        <pc:picChg chg="add del mod">
          <ac:chgData name="Luiz Macedo" userId="7b3c29be-d15f-473b-8b79-40ce79eed9b8" providerId="ADAL" clId="{E02F46DC-E0B5-4390-8BB3-0DE87E96D786}" dt="2022-04-01T19:38:11.303" v="219"/>
          <ac:picMkLst>
            <pc:docMk/>
            <pc:sldMk cId="59849674" sldId="1951"/>
            <ac:picMk id="141" creationId="{D1BB11A9-803B-4705-B506-6A8E751EBD87}"/>
          </ac:picMkLst>
        </pc:picChg>
        <pc:picChg chg="mod">
          <ac:chgData name="Luiz Macedo" userId="7b3c29be-d15f-473b-8b79-40ce79eed9b8" providerId="ADAL" clId="{E02F46DC-E0B5-4390-8BB3-0DE87E96D786}" dt="2022-04-01T19:38:08.872" v="218"/>
          <ac:picMkLst>
            <pc:docMk/>
            <pc:sldMk cId="59849674" sldId="1951"/>
            <ac:picMk id="143" creationId="{9DB94B84-157B-4D5C-A4BB-A9BE22B5C144}"/>
          </ac:picMkLst>
        </pc:picChg>
        <pc:picChg chg="mod">
          <ac:chgData name="Luiz Macedo" userId="7b3c29be-d15f-473b-8b79-40ce79eed9b8" providerId="ADAL" clId="{E02F46DC-E0B5-4390-8BB3-0DE87E96D786}" dt="2022-04-01T19:38:08.872" v="218"/>
          <ac:picMkLst>
            <pc:docMk/>
            <pc:sldMk cId="59849674" sldId="1951"/>
            <ac:picMk id="144" creationId="{6879070D-196F-4BBA-ADC0-6A1FD92B41B5}"/>
          </ac:picMkLst>
        </pc:picChg>
        <pc:picChg chg="mod">
          <ac:chgData name="Luiz Macedo" userId="7b3c29be-d15f-473b-8b79-40ce79eed9b8" providerId="ADAL" clId="{E02F46DC-E0B5-4390-8BB3-0DE87E96D786}" dt="2022-04-01T19:38:08.872" v="218"/>
          <ac:picMkLst>
            <pc:docMk/>
            <pc:sldMk cId="59849674" sldId="1951"/>
            <ac:picMk id="145" creationId="{96A6BE91-8FA5-4EAB-8C29-DC0EEE59605D}"/>
          </ac:picMkLst>
        </pc:picChg>
        <pc:picChg chg="mod">
          <ac:chgData name="Luiz Macedo" userId="7b3c29be-d15f-473b-8b79-40ce79eed9b8" providerId="ADAL" clId="{E02F46DC-E0B5-4390-8BB3-0DE87E96D786}" dt="2022-04-01T19:38:08.872" v="218"/>
          <ac:picMkLst>
            <pc:docMk/>
            <pc:sldMk cId="59849674" sldId="1951"/>
            <ac:picMk id="147" creationId="{9DB93E84-FAA2-4637-A644-393375A76E93}"/>
          </ac:picMkLst>
        </pc:picChg>
        <pc:picChg chg="mod">
          <ac:chgData name="Luiz Macedo" userId="7b3c29be-d15f-473b-8b79-40ce79eed9b8" providerId="ADAL" clId="{E02F46DC-E0B5-4390-8BB3-0DE87E96D786}" dt="2022-04-01T19:38:08.872" v="218"/>
          <ac:picMkLst>
            <pc:docMk/>
            <pc:sldMk cId="59849674" sldId="1951"/>
            <ac:picMk id="148" creationId="{A93BAEC3-902C-4625-BE84-7C26C2AA7D9D}"/>
          </ac:picMkLst>
        </pc:picChg>
        <pc:picChg chg="mod">
          <ac:chgData name="Luiz Macedo" userId="7b3c29be-d15f-473b-8b79-40ce79eed9b8" providerId="ADAL" clId="{E02F46DC-E0B5-4390-8BB3-0DE87E96D786}" dt="2022-04-01T19:38:08.872" v="218"/>
          <ac:picMkLst>
            <pc:docMk/>
            <pc:sldMk cId="59849674" sldId="1951"/>
            <ac:picMk id="149" creationId="{BA66C309-0160-445D-9AF6-21D4BE3C54F8}"/>
          </ac:picMkLst>
        </pc:picChg>
        <pc:picChg chg="mod">
          <ac:chgData name="Luiz Macedo" userId="7b3c29be-d15f-473b-8b79-40ce79eed9b8" providerId="ADAL" clId="{E02F46DC-E0B5-4390-8BB3-0DE87E96D786}" dt="2022-04-01T19:38:08.872" v="218"/>
          <ac:picMkLst>
            <pc:docMk/>
            <pc:sldMk cId="59849674" sldId="1951"/>
            <ac:picMk id="150" creationId="{3724CB38-F72D-4955-9E92-C3820ED07109}"/>
          </ac:picMkLst>
        </pc:picChg>
        <pc:picChg chg="mod">
          <ac:chgData name="Luiz Macedo" userId="7b3c29be-d15f-473b-8b79-40ce79eed9b8" providerId="ADAL" clId="{E02F46DC-E0B5-4390-8BB3-0DE87E96D786}" dt="2022-04-01T19:38:08.872" v="218"/>
          <ac:picMkLst>
            <pc:docMk/>
            <pc:sldMk cId="59849674" sldId="1951"/>
            <ac:picMk id="151" creationId="{A56403A3-4C89-413E-87DE-C079460FB8A6}"/>
          </ac:picMkLst>
        </pc:picChg>
        <pc:picChg chg="mod">
          <ac:chgData name="Luiz Macedo" userId="7b3c29be-d15f-473b-8b79-40ce79eed9b8" providerId="ADAL" clId="{E02F46DC-E0B5-4390-8BB3-0DE87E96D786}" dt="2022-04-01T19:38:08.872" v="218"/>
          <ac:picMkLst>
            <pc:docMk/>
            <pc:sldMk cId="59849674" sldId="1951"/>
            <ac:picMk id="152" creationId="{1FBDBD5A-25CC-4F3D-B128-BD4EBA4AD1E9}"/>
          </ac:picMkLst>
        </pc:picChg>
        <pc:picChg chg="mod">
          <ac:chgData name="Luiz Macedo" userId="7b3c29be-d15f-473b-8b79-40ce79eed9b8" providerId="ADAL" clId="{E02F46DC-E0B5-4390-8BB3-0DE87E96D786}" dt="2022-04-01T19:38:08.872" v="218"/>
          <ac:picMkLst>
            <pc:docMk/>
            <pc:sldMk cId="59849674" sldId="1951"/>
            <ac:picMk id="153" creationId="{951C3424-E154-45E6-9109-4EBA32B81567}"/>
          </ac:picMkLst>
        </pc:picChg>
        <pc:picChg chg="mod">
          <ac:chgData name="Luiz Macedo" userId="7b3c29be-d15f-473b-8b79-40ce79eed9b8" providerId="ADAL" clId="{E02F46DC-E0B5-4390-8BB3-0DE87E96D786}" dt="2022-04-01T19:38:08.872" v="218"/>
          <ac:picMkLst>
            <pc:docMk/>
            <pc:sldMk cId="59849674" sldId="1951"/>
            <ac:picMk id="154" creationId="{29C70962-6D50-47D3-A77F-D157229F6C80}"/>
          </ac:picMkLst>
        </pc:picChg>
        <pc:picChg chg="add mod">
          <ac:chgData name="Luiz Macedo" userId="7b3c29be-d15f-473b-8b79-40ce79eed9b8" providerId="ADAL" clId="{E02F46DC-E0B5-4390-8BB3-0DE87E96D786}" dt="2022-04-01T19:39:20.165" v="248" actId="1036"/>
          <ac:picMkLst>
            <pc:docMk/>
            <pc:sldMk cId="59849674" sldId="1951"/>
            <ac:picMk id="169" creationId="{7D74D74F-AD88-480F-AED3-24A3A471FE06}"/>
          </ac:picMkLst>
        </pc:picChg>
        <pc:picChg chg="add mod">
          <ac:chgData name="Luiz Macedo" userId="7b3c29be-d15f-473b-8b79-40ce79eed9b8" providerId="ADAL" clId="{E02F46DC-E0B5-4390-8BB3-0DE87E96D786}" dt="2022-04-01T19:39:20.165" v="248" actId="1036"/>
          <ac:picMkLst>
            <pc:docMk/>
            <pc:sldMk cId="59849674" sldId="1951"/>
            <ac:picMk id="170" creationId="{574FFBB5-5D09-4D84-ACBB-452C3A5B0B8D}"/>
          </ac:picMkLst>
        </pc:picChg>
        <pc:picChg chg="add mod">
          <ac:chgData name="Luiz Macedo" userId="7b3c29be-d15f-473b-8b79-40ce79eed9b8" providerId="ADAL" clId="{E02F46DC-E0B5-4390-8BB3-0DE87E96D786}" dt="2022-04-01T19:39:20.165" v="248" actId="1036"/>
          <ac:picMkLst>
            <pc:docMk/>
            <pc:sldMk cId="59849674" sldId="1951"/>
            <ac:picMk id="171" creationId="{5200A0EA-7551-44B8-8BF9-8FDC0A9B5585}"/>
          </ac:picMkLst>
        </pc:picChg>
        <pc:picChg chg="add mod">
          <ac:chgData name="Luiz Macedo" userId="7b3c29be-d15f-473b-8b79-40ce79eed9b8" providerId="ADAL" clId="{E02F46DC-E0B5-4390-8BB3-0DE87E96D786}" dt="2022-04-01T19:39:20.165" v="248" actId="1036"/>
          <ac:picMkLst>
            <pc:docMk/>
            <pc:sldMk cId="59849674" sldId="1951"/>
            <ac:picMk id="172" creationId="{D8D51B0D-73CF-4068-A8F2-E7A21FCDF3CB}"/>
          </ac:picMkLst>
        </pc:picChg>
        <pc:picChg chg="add mod">
          <ac:chgData name="Luiz Macedo" userId="7b3c29be-d15f-473b-8b79-40ce79eed9b8" providerId="ADAL" clId="{E02F46DC-E0B5-4390-8BB3-0DE87E96D786}" dt="2022-04-01T19:39:20.165" v="248" actId="1036"/>
          <ac:picMkLst>
            <pc:docMk/>
            <pc:sldMk cId="59849674" sldId="1951"/>
            <ac:picMk id="173" creationId="{FD50F05D-45CD-4358-B9E2-FD6780D8E47C}"/>
          </ac:picMkLst>
        </pc:picChg>
        <pc:picChg chg="add mod">
          <ac:chgData name="Luiz Macedo" userId="7b3c29be-d15f-473b-8b79-40ce79eed9b8" providerId="ADAL" clId="{E02F46DC-E0B5-4390-8BB3-0DE87E96D786}" dt="2022-04-01T19:39:20.165" v="248" actId="1036"/>
          <ac:picMkLst>
            <pc:docMk/>
            <pc:sldMk cId="59849674" sldId="1951"/>
            <ac:picMk id="174" creationId="{D62C3C1D-EE2F-488C-B195-D4BD9FD13BBB}"/>
          </ac:picMkLst>
        </pc:picChg>
        <pc:picChg chg="add mod">
          <ac:chgData name="Luiz Macedo" userId="7b3c29be-d15f-473b-8b79-40ce79eed9b8" providerId="ADAL" clId="{E02F46DC-E0B5-4390-8BB3-0DE87E96D786}" dt="2022-04-01T19:39:20.165" v="248" actId="1036"/>
          <ac:picMkLst>
            <pc:docMk/>
            <pc:sldMk cId="59849674" sldId="1951"/>
            <ac:picMk id="184" creationId="{D495EDFE-16F4-43B9-B57B-27B4EE15C6C2}"/>
          </ac:picMkLst>
        </pc:picChg>
        <pc:picChg chg="add mod">
          <ac:chgData name="Luiz Macedo" userId="7b3c29be-d15f-473b-8b79-40ce79eed9b8" providerId="ADAL" clId="{E02F46DC-E0B5-4390-8BB3-0DE87E96D786}" dt="2022-04-01T19:39:20.165" v="248" actId="1036"/>
          <ac:picMkLst>
            <pc:docMk/>
            <pc:sldMk cId="59849674" sldId="1951"/>
            <ac:picMk id="185" creationId="{7CB9B24E-5257-45D3-84E0-D88198C159AC}"/>
          </ac:picMkLst>
        </pc:picChg>
        <pc:picChg chg="add mod">
          <ac:chgData name="Luiz Macedo" userId="7b3c29be-d15f-473b-8b79-40ce79eed9b8" providerId="ADAL" clId="{E02F46DC-E0B5-4390-8BB3-0DE87E96D786}" dt="2022-04-01T19:39:20.165" v="248" actId="1036"/>
          <ac:picMkLst>
            <pc:docMk/>
            <pc:sldMk cId="59849674" sldId="1951"/>
            <ac:picMk id="186" creationId="{91931887-E920-4EA1-9EDA-83FE670172CA}"/>
          </ac:picMkLst>
        </pc:picChg>
        <pc:picChg chg="add mod">
          <ac:chgData name="Luiz Macedo" userId="7b3c29be-d15f-473b-8b79-40ce79eed9b8" providerId="ADAL" clId="{E02F46DC-E0B5-4390-8BB3-0DE87E96D786}" dt="2022-04-01T19:39:20.165" v="248" actId="1036"/>
          <ac:picMkLst>
            <pc:docMk/>
            <pc:sldMk cId="59849674" sldId="1951"/>
            <ac:picMk id="187" creationId="{F5E5A599-4119-4FE7-A097-DBCD0761E66F}"/>
          </ac:picMkLst>
        </pc:picChg>
        <pc:picChg chg="add mod">
          <ac:chgData name="Luiz Macedo" userId="7b3c29be-d15f-473b-8b79-40ce79eed9b8" providerId="ADAL" clId="{E02F46DC-E0B5-4390-8BB3-0DE87E96D786}" dt="2022-04-01T19:39:20.165" v="248" actId="1036"/>
          <ac:picMkLst>
            <pc:docMk/>
            <pc:sldMk cId="59849674" sldId="1951"/>
            <ac:picMk id="188" creationId="{DE53015F-1921-478D-BC49-EA0D7482216D}"/>
          </ac:picMkLst>
        </pc:picChg>
        <pc:picChg chg="add mod">
          <ac:chgData name="Luiz Macedo" userId="7b3c29be-d15f-473b-8b79-40ce79eed9b8" providerId="ADAL" clId="{E02F46DC-E0B5-4390-8BB3-0DE87E96D786}" dt="2022-04-01T19:39:20.165" v="248" actId="1036"/>
          <ac:picMkLst>
            <pc:docMk/>
            <pc:sldMk cId="59849674" sldId="1951"/>
            <ac:picMk id="189" creationId="{14DA3AE2-44ED-4EB8-A842-1DB87BFA8B57}"/>
          </ac:picMkLst>
        </pc:picChg>
        <pc:picChg chg="add mod">
          <ac:chgData name="Luiz Macedo" userId="7b3c29be-d15f-473b-8b79-40ce79eed9b8" providerId="ADAL" clId="{E02F46DC-E0B5-4390-8BB3-0DE87E96D786}" dt="2022-04-01T19:39:20.165" v="248" actId="1036"/>
          <ac:picMkLst>
            <pc:docMk/>
            <pc:sldMk cId="59849674" sldId="1951"/>
            <ac:picMk id="191" creationId="{11446F1F-8D2F-40E6-8F50-2DD0DD0385FD}"/>
          </ac:picMkLst>
        </pc:picChg>
        <pc:picChg chg="add mod">
          <ac:chgData name="Luiz Macedo" userId="7b3c29be-d15f-473b-8b79-40ce79eed9b8" providerId="ADAL" clId="{E02F46DC-E0B5-4390-8BB3-0DE87E96D786}" dt="2022-04-01T19:39:20.165" v="248" actId="1036"/>
          <ac:picMkLst>
            <pc:docMk/>
            <pc:sldMk cId="59849674" sldId="1951"/>
            <ac:picMk id="192" creationId="{B7FD2FF3-5694-4535-81CE-6E9B9B4B1B2D}"/>
          </ac:picMkLst>
        </pc:picChg>
        <pc:picChg chg="add mod">
          <ac:chgData name="Luiz Macedo" userId="7b3c29be-d15f-473b-8b79-40ce79eed9b8" providerId="ADAL" clId="{E02F46DC-E0B5-4390-8BB3-0DE87E96D786}" dt="2022-04-01T19:39:20.165" v="248" actId="1036"/>
          <ac:picMkLst>
            <pc:docMk/>
            <pc:sldMk cId="59849674" sldId="1951"/>
            <ac:picMk id="193" creationId="{730E4D08-10F1-4DBF-8690-BC5AD7248066}"/>
          </ac:picMkLst>
        </pc:picChg>
        <pc:picChg chg="add mod">
          <ac:chgData name="Luiz Macedo" userId="7b3c29be-d15f-473b-8b79-40ce79eed9b8" providerId="ADAL" clId="{E02F46DC-E0B5-4390-8BB3-0DE87E96D786}" dt="2022-04-01T19:39:20.165" v="248" actId="1036"/>
          <ac:picMkLst>
            <pc:docMk/>
            <pc:sldMk cId="59849674" sldId="1951"/>
            <ac:picMk id="194" creationId="{C9993AFF-226F-4E73-96D1-8684051BF0F4}"/>
          </ac:picMkLst>
        </pc:picChg>
        <pc:picChg chg="add mod">
          <ac:chgData name="Luiz Macedo" userId="7b3c29be-d15f-473b-8b79-40ce79eed9b8" providerId="ADAL" clId="{E02F46DC-E0B5-4390-8BB3-0DE87E96D786}" dt="2022-04-01T19:39:20.165" v="248" actId="1036"/>
          <ac:picMkLst>
            <pc:docMk/>
            <pc:sldMk cId="59849674" sldId="1951"/>
            <ac:picMk id="195" creationId="{25A902C0-DA06-45FE-9CB9-A4A1198060B6}"/>
          </ac:picMkLst>
        </pc:picChg>
        <pc:picChg chg="add mod">
          <ac:chgData name="Luiz Macedo" userId="7b3c29be-d15f-473b-8b79-40ce79eed9b8" providerId="ADAL" clId="{E02F46DC-E0B5-4390-8BB3-0DE87E96D786}" dt="2022-04-01T19:39:20.165" v="248" actId="1036"/>
          <ac:picMkLst>
            <pc:docMk/>
            <pc:sldMk cId="59849674" sldId="1951"/>
            <ac:picMk id="196" creationId="{FE08CEB2-3ABE-4A51-8A5A-D477DCDA260B}"/>
          </ac:picMkLst>
        </pc:picChg>
        <pc:picChg chg="add mod">
          <ac:chgData name="Luiz Macedo" userId="7b3c29be-d15f-473b-8b79-40ce79eed9b8" providerId="ADAL" clId="{E02F46DC-E0B5-4390-8BB3-0DE87E96D786}" dt="2022-04-01T19:42:06.857" v="318" actId="1036"/>
          <ac:picMkLst>
            <pc:docMk/>
            <pc:sldMk cId="59849674" sldId="1951"/>
            <ac:picMk id="197" creationId="{101CBA5C-BD59-4EB8-AD00-935888634FA0}"/>
          </ac:picMkLst>
        </pc:picChg>
        <pc:picChg chg="add mod">
          <ac:chgData name="Luiz Macedo" userId="7b3c29be-d15f-473b-8b79-40ce79eed9b8" providerId="ADAL" clId="{E02F46DC-E0B5-4390-8BB3-0DE87E96D786}" dt="2022-04-01T19:39:20.165" v="248" actId="1036"/>
          <ac:picMkLst>
            <pc:docMk/>
            <pc:sldMk cId="59849674" sldId="1951"/>
            <ac:picMk id="198" creationId="{CCBE21F3-5CD1-43AF-8FA5-0F65B774092F}"/>
          </ac:picMkLst>
        </pc:picChg>
        <pc:picChg chg="mod">
          <ac:chgData name="Luiz Macedo" userId="7b3c29be-d15f-473b-8b79-40ce79eed9b8" providerId="ADAL" clId="{E02F46DC-E0B5-4390-8BB3-0DE87E96D786}" dt="2022-04-01T19:40:21.597" v="287" actId="1035"/>
          <ac:picMkLst>
            <pc:docMk/>
            <pc:sldMk cId="59849674" sldId="1951"/>
            <ac:picMk id="200" creationId="{715670DF-34F5-4A71-8403-0CECFFD5083F}"/>
          </ac:picMkLst>
        </pc:picChg>
        <pc:picChg chg="mod">
          <ac:chgData name="Luiz Macedo" userId="7b3c29be-d15f-473b-8b79-40ce79eed9b8" providerId="ADAL" clId="{E02F46DC-E0B5-4390-8BB3-0DE87E96D786}" dt="2022-04-01T19:40:21.597" v="287" actId="1035"/>
          <ac:picMkLst>
            <pc:docMk/>
            <pc:sldMk cId="59849674" sldId="1951"/>
            <ac:picMk id="201" creationId="{DBC4C121-03EA-4C71-9387-856DCD176E66}"/>
          </ac:picMkLst>
        </pc:picChg>
        <pc:picChg chg="mod">
          <ac:chgData name="Luiz Macedo" userId="7b3c29be-d15f-473b-8b79-40ce79eed9b8" providerId="ADAL" clId="{E02F46DC-E0B5-4390-8BB3-0DE87E96D786}" dt="2022-04-01T19:40:21.597" v="287" actId="1035"/>
          <ac:picMkLst>
            <pc:docMk/>
            <pc:sldMk cId="59849674" sldId="1951"/>
            <ac:picMk id="202" creationId="{29FCB506-4536-4A62-8BE4-2209EA91FB2F}"/>
          </ac:picMkLst>
        </pc:picChg>
        <pc:picChg chg="mod">
          <ac:chgData name="Luiz Macedo" userId="7b3c29be-d15f-473b-8b79-40ce79eed9b8" providerId="ADAL" clId="{E02F46DC-E0B5-4390-8BB3-0DE87E96D786}" dt="2022-04-01T19:40:21.597" v="287" actId="1035"/>
          <ac:picMkLst>
            <pc:docMk/>
            <pc:sldMk cId="59849674" sldId="1951"/>
            <ac:picMk id="204" creationId="{2BA2AB90-FE60-4670-AC0B-832062F0EAC3}"/>
          </ac:picMkLst>
        </pc:picChg>
        <pc:picChg chg="mod">
          <ac:chgData name="Luiz Macedo" userId="7b3c29be-d15f-473b-8b79-40ce79eed9b8" providerId="ADAL" clId="{E02F46DC-E0B5-4390-8BB3-0DE87E96D786}" dt="2022-04-01T19:40:21.597" v="287" actId="1035"/>
          <ac:picMkLst>
            <pc:docMk/>
            <pc:sldMk cId="59849674" sldId="1951"/>
            <ac:picMk id="205" creationId="{19026C13-00DE-4B32-8695-6365DAC1E5A4}"/>
          </ac:picMkLst>
        </pc:picChg>
        <pc:picChg chg="mod">
          <ac:chgData name="Luiz Macedo" userId="7b3c29be-d15f-473b-8b79-40ce79eed9b8" providerId="ADAL" clId="{E02F46DC-E0B5-4390-8BB3-0DE87E96D786}" dt="2022-04-01T19:40:21.597" v="287" actId="1035"/>
          <ac:picMkLst>
            <pc:docMk/>
            <pc:sldMk cId="59849674" sldId="1951"/>
            <ac:picMk id="206" creationId="{E47B7272-49D2-48E4-B363-04205D644243}"/>
          </ac:picMkLst>
        </pc:picChg>
        <pc:picChg chg="mod">
          <ac:chgData name="Luiz Macedo" userId="7b3c29be-d15f-473b-8b79-40ce79eed9b8" providerId="ADAL" clId="{E02F46DC-E0B5-4390-8BB3-0DE87E96D786}" dt="2022-04-01T19:40:21.597" v="287" actId="1035"/>
          <ac:picMkLst>
            <pc:docMk/>
            <pc:sldMk cId="59849674" sldId="1951"/>
            <ac:picMk id="207" creationId="{FAED4007-28E0-4DEB-84C4-2501A313FB97}"/>
          </ac:picMkLst>
        </pc:picChg>
        <pc:picChg chg="mod">
          <ac:chgData name="Luiz Macedo" userId="7b3c29be-d15f-473b-8b79-40ce79eed9b8" providerId="ADAL" clId="{E02F46DC-E0B5-4390-8BB3-0DE87E96D786}" dt="2022-04-01T19:40:21.597" v="287" actId="1035"/>
          <ac:picMkLst>
            <pc:docMk/>
            <pc:sldMk cId="59849674" sldId="1951"/>
            <ac:picMk id="208" creationId="{B49ACA62-61A8-431C-96EA-A40707817CD1}"/>
          </ac:picMkLst>
        </pc:picChg>
        <pc:picChg chg="mod">
          <ac:chgData name="Luiz Macedo" userId="7b3c29be-d15f-473b-8b79-40ce79eed9b8" providerId="ADAL" clId="{E02F46DC-E0B5-4390-8BB3-0DE87E96D786}" dt="2022-04-01T19:40:21.597" v="287" actId="1035"/>
          <ac:picMkLst>
            <pc:docMk/>
            <pc:sldMk cId="59849674" sldId="1951"/>
            <ac:picMk id="209" creationId="{7779CF86-491F-48C6-9C94-3F6237D32716}"/>
          </ac:picMkLst>
        </pc:picChg>
        <pc:picChg chg="mod">
          <ac:chgData name="Luiz Macedo" userId="7b3c29be-d15f-473b-8b79-40ce79eed9b8" providerId="ADAL" clId="{E02F46DC-E0B5-4390-8BB3-0DE87E96D786}" dt="2022-04-01T19:40:21.597" v="287" actId="1035"/>
          <ac:picMkLst>
            <pc:docMk/>
            <pc:sldMk cId="59849674" sldId="1951"/>
            <ac:picMk id="210" creationId="{161E6978-6C16-4070-A264-43F7F545E2CB}"/>
          </ac:picMkLst>
        </pc:picChg>
        <pc:picChg chg="mod">
          <ac:chgData name="Luiz Macedo" userId="7b3c29be-d15f-473b-8b79-40ce79eed9b8" providerId="ADAL" clId="{E02F46DC-E0B5-4390-8BB3-0DE87E96D786}" dt="2022-04-01T19:40:21.597" v="287" actId="1035"/>
          <ac:picMkLst>
            <pc:docMk/>
            <pc:sldMk cId="59849674" sldId="1951"/>
            <ac:picMk id="211" creationId="{BF0904D7-C2C0-4E2C-97A7-45608454E3DC}"/>
          </ac:picMkLst>
        </pc:picChg>
        <pc:picChg chg="add del">
          <ac:chgData name="Luiz Macedo" userId="7b3c29be-d15f-473b-8b79-40ce79eed9b8" providerId="ADAL" clId="{E02F46DC-E0B5-4390-8BB3-0DE87E96D786}" dt="2022-04-01T19:24:49.462" v="76"/>
          <ac:picMkLst>
            <pc:docMk/>
            <pc:sldMk cId="59849674" sldId="1951"/>
            <ac:picMk id="1026" creationId="{923A0EDD-7CC3-4F88-B078-D6EDB09FE28A}"/>
          </ac:picMkLst>
        </pc:picChg>
        <pc:picChg chg="add del">
          <ac:chgData name="Luiz Macedo" userId="7b3c29be-d15f-473b-8b79-40ce79eed9b8" providerId="ADAL" clId="{E02F46DC-E0B5-4390-8BB3-0DE87E96D786}" dt="2022-04-01T19:24:49.462" v="76"/>
          <ac:picMkLst>
            <pc:docMk/>
            <pc:sldMk cId="59849674" sldId="1951"/>
            <ac:picMk id="1027" creationId="{4E759143-3015-4E34-9B7F-7A714E32620A}"/>
          </ac:picMkLst>
        </pc:picChg>
        <pc:picChg chg="add del">
          <ac:chgData name="Luiz Macedo" userId="7b3c29be-d15f-473b-8b79-40ce79eed9b8" providerId="ADAL" clId="{E02F46DC-E0B5-4390-8BB3-0DE87E96D786}" dt="2022-04-01T19:24:49.462" v="76"/>
          <ac:picMkLst>
            <pc:docMk/>
            <pc:sldMk cId="59849674" sldId="1951"/>
            <ac:picMk id="1028" creationId="{330E9016-371A-48A2-9E71-369316D4C2C1}"/>
          </ac:picMkLst>
        </pc:picChg>
        <pc:picChg chg="add del">
          <ac:chgData name="Luiz Macedo" userId="7b3c29be-d15f-473b-8b79-40ce79eed9b8" providerId="ADAL" clId="{E02F46DC-E0B5-4390-8BB3-0DE87E96D786}" dt="2022-04-01T19:24:49.462" v="76"/>
          <ac:picMkLst>
            <pc:docMk/>
            <pc:sldMk cId="59849674" sldId="1951"/>
            <ac:picMk id="1029" creationId="{1E85490D-ECDA-4913-A2B5-DE1DAD35FBFC}"/>
          </ac:picMkLst>
        </pc:picChg>
        <pc:picChg chg="add del">
          <ac:chgData name="Luiz Macedo" userId="7b3c29be-d15f-473b-8b79-40ce79eed9b8" providerId="ADAL" clId="{E02F46DC-E0B5-4390-8BB3-0DE87E96D786}" dt="2022-04-01T19:24:49.462" v="76"/>
          <ac:picMkLst>
            <pc:docMk/>
            <pc:sldMk cId="59849674" sldId="1951"/>
            <ac:picMk id="1030" creationId="{9E3D848D-04B0-43AB-B49F-5B446D293C31}"/>
          </ac:picMkLst>
        </pc:picChg>
        <pc:picChg chg="add del">
          <ac:chgData name="Luiz Macedo" userId="7b3c29be-d15f-473b-8b79-40ce79eed9b8" providerId="ADAL" clId="{E02F46DC-E0B5-4390-8BB3-0DE87E96D786}" dt="2022-04-01T19:24:49.462" v="76"/>
          <ac:picMkLst>
            <pc:docMk/>
            <pc:sldMk cId="59849674" sldId="1951"/>
            <ac:picMk id="1031" creationId="{C4B7D0E0-B049-4F57-9BC1-7A1C9A895994}"/>
          </ac:picMkLst>
        </pc:picChg>
        <pc:picChg chg="add del">
          <ac:chgData name="Luiz Macedo" userId="7b3c29be-d15f-473b-8b79-40ce79eed9b8" providerId="ADAL" clId="{E02F46DC-E0B5-4390-8BB3-0DE87E96D786}" dt="2022-04-01T19:24:49.462" v="76"/>
          <ac:picMkLst>
            <pc:docMk/>
            <pc:sldMk cId="59849674" sldId="1951"/>
            <ac:picMk id="1032" creationId="{FB4D3799-E596-4BEF-8397-2F2F97B094FB}"/>
          </ac:picMkLst>
        </pc:picChg>
        <pc:picChg chg="add del">
          <ac:chgData name="Luiz Macedo" userId="7b3c29be-d15f-473b-8b79-40ce79eed9b8" providerId="ADAL" clId="{E02F46DC-E0B5-4390-8BB3-0DE87E96D786}" dt="2022-04-01T19:24:49.462" v="76"/>
          <ac:picMkLst>
            <pc:docMk/>
            <pc:sldMk cId="59849674" sldId="1951"/>
            <ac:picMk id="1033" creationId="{9C7712E4-57A3-4BF1-BB0F-E97904AC923F}"/>
          </ac:picMkLst>
        </pc:picChg>
        <pc:picChg chg="add del">
          <ac:chgData name="Luiz Macedo" userId="7b3c29be-d15f-473b-8b79-40ce79eed9b8" providerId="ADAL" clId="{E02F46DC-E0B5-4390-8BB3-0DE87E96D786}" dt="2022-04-01T19:24:49.462" v="76"/>
          <ac:picMkLst>
            <pc:docMk/>
            <pc:sldMk cId="59849674" sldId="1951"/>
            <ac:picMk id="1034" creationId="{FCE6AF24-087C-4F69-AEB9-274365C7654D}"/>
          </ac:picMkLst>
        </pc:picChg>
        <pc:picChg chg="add del">
          <ac:chgData name="Luiz Macedo" userId="7b3c29be-d15f-473b-8b79-40ce79eed9b8" providerId="ADAL" clId="{E02F46DC-E0B5-4390-8BB3-0DE87E96D786}" dt="2022-04-01T19:24:49.462" v="76"/>
          <ac:picMkLst>
            <pc:docMk/>
            <pc:sldMk cId="59849674" sldId="1951"/>
            <ac:picMk id="1035" creationId="{6DB964AA-5C30-4D46-87D8-1BE2C4335565}"/>
          </ac:picMkLst>
        </pc:picChg>
        <pc:picChg chg="add del">
          <ac:chgData name="Luiz Macedo" userId="7b3c29be-d15f-473b-8b79-40ce79eed9b8" providerId="ADAL" clId="{E02F46DC-E0B5-4390-8BB3-0DE87E96D786}" dt="2022-04-01T19:24:49.462" v="76"/>
          <ac:picMkLst>
            <pc:docMk/>
            <pc:sldMk cId="59849674" sldId="1951"/>
            <ac:picMk id="1036" creationId="{CF3C1BD9-0930-4325-9F5E-A66D63DDFDF5}"/>
          </ac:picMkLst>
        </pc:picChg>
        <pc:picChg chg="add del">
          <ac:chgData name="Luiz Macedo" userId="7b3c29be-d15f-473b-8b79-40ce79eed9b8" providerId="ADAL" clId="{E02F46DC-E0B5-4390-8BB3-0DE87E96D786}" dt="2022-04-01T19:24:49.462" v="76"/>
          <ac:picMkLst>
            <pc:docMk/>
            <pc:sldMk cId="59849674" sldId="1951"/>
            <ac:picMk id="1037" creationId="{34E2C071-8154-4C74-8357-C97A7AFC4E14}"/>
          </ac:picMkLst>
        </pc:picChg>
        <pc:picChg chg="add del">
          <ac:chgData name="Luiz Macedo" userId="7b3c29be-d15f-473b-8b79-40ce79eed9b8" providerId="ADAL" clId="{E02F46DC-E0B5-4390-8BB3-0DE87E96D786}" dt="2022-04-01T19:24:49.462" v="76"/>
          <ac:picMkLst>
            <pc:docMk/>
            <pc:sldMk cId="59849674" sldId="1951"/>
            <ac:picMk id="1038" creationId="{5FA10D0D-6944-4E41-8C6F-57C4E6504E04}"/>
          </ac:picMkLst>
        </pc:picChg>
        <pc:picChg chg="add del">
          <ac:chgData name="Luiz Macedo" userId="7b3c29be-d15f-473b-8b79-40ce79eed9b8" providerId="ADAL" clId="{E02F46DC-E0B5-4390-8BB3-0DE87E96D786}" dt="2022-04-01T19:24:49.462" v="76"/>
          <ac:picMkLst>
            <pc:docMk/>
            <pc:sldMk cId="59849674" sldId="1951"/>
            <ac:picMk id="1039" creationId="{BFD0417A-117E-408B-8183-6DCFBCF058DB}"/>
          </ac:picMkLst>
        </pc:picChg>
        <pc:picChg chg="add del">
          <ac:chgData name="Luiz Macedo" userId="7b3c29be-d15f-473b-8b79-40ce79eed9b8" providerId="ADAL" clId="{E02F46DC-E0B5-4390-8BB3-0DE87E96D786}" dt="2022-04-01T19:24:49.462" v="76"/>
          <ac:picMkLst>
            <pc:docMk/>
            <pc:sldMk cId="59849674" sldId="1951"/>
            <ac:picMk id="1040" creationId="{CD1104B4-27C9-4D04-8778-C67B6A552215}"/>
          </ac:picMkLst>
        </pc:picChg>
        <pc:picChg chg="add del">
          <ac:chgData name="Luiz Macedo" userId="7b3c29be-d15f-473b-8b79-40ce79eed9b8" providerId="ADAL" clId="{E02F46DC-E0B5-4390-8BB3-0DE87E96D786}" dt="2022-04-01T19:24:49.462" v="76"/>
          <ac:picMkLst>
            <pc:docMk/>
            <pc:sldMk cId="59849674" sldId="1951"/>
            <ac:picMk id="1041" creationId="{46AAE6D6-8916-43E3-B980-A5D8A23DB2E9}"/>
          </ac:picMkLst>
        </pc:picChg>
        <pc:picChg chg="add del">
          <ac:chgData name="Luiz Macedo" userId="7b3c29be-d15f-473b-8b79-40ce79eed9b8" providerId="ADAL" clId="{E02F46DC-E0B5-4390-8BB3-0DE87E96D786}" dt="2022-04-01T19:24:49.462" v="76"/>
          <ac:picMkLst>
            <pc:docMk/>
            <pc:sldMk cId="59849674" sldId="1951"/>
            <ac:picMk id="1042" creationId="{532D7A68-FAC9-449F-8A72-9C66D0BE7053}"/>
          </ac:picMkLst>
        </pc:picChg>
        <pc:picChg chg="add del">
          <ac:chgData name="Luiz Macedo" userId="7b3c29be-d15f-473b-8b79-40ce79eed9b8" providerId="ADAL" clId="{E02F46DC-E0B5-4390-8BB3-0DE87E96D786}" dt="2022-04-01T19:24:49.462" v="76"/>
          <ac:picMkLst>
            <pc:docMk/>
            <pc:sldMk cId="59849674" sldId="1951"/>
            <ac:picMk id="1043" creationId="{15422999-1F91-4476-8109-63CEFCA4CCEF}"/>
          </ac:picMkLst>
        </pc:picChg>
        <pc:picChg chg="add del">
          <ac:chgData name="Luiz Macedo" userId="7b3c29be-d15f-473b-8b79-40ce79eed9b8" providerId="ADAL" clId="{E02F46DC-E0B5-4390-8BB3-0DE87E96D786}" dt="2022-04-01T19:24:49.462" v="76"/>
          <ac:picMkLst>
            <pc:docMk/>
            <pc:sldMk cId="59849674" sldId="1951"/>
            <ac:picMk id="1044" creationId="{D2CABD44-1FBF-42C0-8D79-338EABEAB6C4}"/>
          </ac:picMkLst>
        </pc:picChg>
        <pc:picChg chg="add del">
          <ac:chgData name="Luiz Macedo" userId="7b3c29be-d15f-473b-8b79-40ce79eed9b8" providerId="ADAL" clId="{E02F46DC-E0B5-4390-8BB3-0DE87E96D786}" dt="2022-04-01T19:24:49.462" v="76"/>
          <ac:picMkLst>
            <pc:docMk/>
            <pc:sldMk cId="59849674" sldId="1951"/>
            <ac:picMk id="1045" creationId="{44B25315-14AE-4B8E-9030-C64E8A8AFBD2}"/>
          </ac:picMkLst>
        </pc:picChg>
        <pc:picChg chg="add del mod">
          <ac:chgData name="Luiz Macedo" userId="7b3c29be-d15f-473b-8b79-40ce79eed9b8" providerId="ADAL" clId="{E02F46DC-E0B5-4390-8BB3-0DE87E96D786}" dt="2022-04-01T19:24:58.509" v="80"/>
          <ac:picMkLst>
            <pc:docMk/>
            <pc:sldMk cId="59849674" sldId="1951"/>
            <ac:picMk id="1047" creationId="{5FFF6958-3A6A-44BF-8060-4BBD7B08A6A5}"/>
          </ac:picMkLst>
        </pc:picChg>
        <pc:picChg chg="add del mod">
          <ac:chgData name="Luiz Macedo" userId="7b3c29be-d15f-473b-8b79-40ce79eed9b8" providerId="ADAL" clId="{E02F46DC-E0B5-4390-8BB3-0DE87E96D786}" dt="2022-04-01T19:24:58.509" v="80"/>
          <ac:picMkLst>
            <pc:docMk/>
            <pc:sldMk cId="59849674" sldId="1951"/>
            <ac:picMk id="1048" creationId="{0C560AA4-DCFD-45D8-A015-983713480442}"/>
          </ac:picMkLst>
        </pc:picChg>
        <pc:picChg chg="add del mod">
          <ac:chgData name="Luiz Macedo" userId="7b3c29be-d15f-473b-8b79-40ce79eed9b8" providerId="ADAL" clId="{E02F46DC-E0B5-4390-8BB3-0DE87E96D786}" dt="2022-04-01T19:24:58.509" v="80"/>
          <ac:picMkLst>
            <pc:docMk/>
            <pc:sldMk cId="59849674" sldId="1951"/>
            <ac:picMk id="1049" creationId="{FEC61D58-F77F-4383-AB76-95F57B1C9DB1}"/>
          </ac:picMkLst>
        </pc:picChg>
        <pc:picChg chg="add del mod">
          <ac:chgData name="Luiz Macedo" userId="7b3c29be-d15f-473b-8b79-40ce79eed9b8" providerId="ADAL" clId="{E02F46DC-E0B5-4390-8BB3-0DE87E96D786}" dt="2022-04-01T19:24:58.509" v="80"/>
          <ac:picMkLst>
            <pc:docMk/>
            <pc:sldMk cId="59849674" sldId="1951"/>
            <ac:picMk id="1050" creationId="{709C1E1F-CC8C-4DD8-8FD1-ACC571F63A36}"/>
          </ac:picMkLst>
        </pc:picChg>
        <pc:picChg chg="add del mod">
          <ac:chgData name="Luiz Macedo" userId="7b3c29be-d15f-473b-8b79-40ce79eed9b8" providerId="ADAL" clId="{E02F46DC-E0B5-4390-8BB3-0DE87E96D786}" dt="2022-04-01T19:24:58.509" v="80"/>
          <ac:picMkLst>
            <pc:docMk/>
            <pc:sldMk cId="59849674" sldId="1951"/>
            <ac:picMk id="1051" creationId="{4342C08C-9EF5-4026-8D6A-9BBE5FCC8522}"/>
          </ac:picMkLst>
        </pc:picChg>
        <pc:picChg chg="add del mod">
          <ac:chgData name="Luiz Macedo" userId="7b3c29be-d15f-473b-8b79-40ce79eed9b8" providerId="ADAL" clId="{E02F46DC-E0B5-4390-8BB3-0DE87E96D786}" dt="2022-04-01T19:24:58.509" v="80"/>
          <ac:picMkLst>
            <pc:docMk/>
            <pc:sldMk cId="59849674" sldId="1951"/>
            <ac:picMk id="1052" creationId="{E73A245F-C27D-4855-8D92-586F21C030FE}"/>
          </ac:picMkLst>
        </pc:picChg>
        <pc:picChg chg="add del mod">
          <ac:chgData name="Luiz Macedo" userId="7b3c29be-d15f-473b-8b79-40ce79eed9b8" providerId="ADAL" clId="{E02F46DC-E0B5-4390-8BB3-0DE87E96D786}" dt="2022-04-01T19:24:58.509" v="80"/>
          <ac:picMkLst>
            <pc:docMk/>
            <pc:sldMk cId="59849674" sldId="1951"/>
            <ac:picMk id="1053" creationId="{9AD9A763-0A98-4C17-93DB-40F31E2D1609}"/>
          </ac:picMkLst>
        </pc:picChg>
        <pc:picChg chg="add del mod">
          <ac:chgData name="Luiz Macedo" userId="7b3c29be-d15f-473b-8b79-40ce79eed9b8" providerId="ADAL" clId="{E02F46DC-E0B5-4390-8BB3-0DE87E96D786}" dt="2022-04-01T19:24:58.509" v="80"/>
          <ac:picMkLst>
            <pc:docMk/>
            <pc:sldMk cId="59849674" sldId="1951"/>
            <ac:picMk id="1054" creationId="{2D284B5B-B3C3-4034-BA6F-14397568E4A8}"/>
          </ac:picMkLst>
        </pc:picChg>
        <pc:picChg chg="add del mod">
          <ac:chgData name="Luiz Macedo" userId="7b3c29be-d15f-473b-8b79-40ce79eed9b8" providerId="ADAL" clId="{E02F46DC-E0B5-4390-8BB3-0DE87E96D786}" dt="2022-04-01T19:24:58.509" v="80"/>
          <ac:picMkLst>
            <pc:docMk/>
            <pc:sldMk cId="59849674" sldId="1951"/>
            <ac:picMk id="1055" creationId="{81003441-5CD3-42EF-A81A-AFC8FACC9AFF}"/>
          </ac:picMkLst>
        </pc:picChg>
        <pc:picChg chg="add del mod">
          <ac:chgData name="Luiz Macedo" userId="7b3c29be-d15f-473b-8b79-40ce79eed9b8" providerId="ADAL" clId="{E02F46DC-E0B5-4390-8BB3-0DE87E96D786}" dt="2022-04-01T19:24:58.509" v="80"/>
          <ac:picMkLst>
            <pc:docMk/>
            <pc:sldMk cId="59849674" sldId="1951"/>
            <ac:picMk id="1056" creationId="{45898A62-9619-463E-9591-9A7195E2BF90}"/>
          </ac:picMkLst>
        </pc:picChg>
        <pc:picChg chg="add del mod">
          <ac:chgData name="Luiz Macedo" userId="7b3c29be-d15f-473b-8b79-40ce79eed9b8" providerId="ADAL" clId="{E02F46DC-E0B5-4390-8BB3-0DE87E96D786}" dt="2022-04-01T19:24:58.509" v="80"/>
          <ac:picMkLst>
            <pc:docMk/>
            <pc:sldMk cId="59849674" sldId="1951"/>
            <ac:picMk id="1057" creationId="{86FBC5BF-DA58-40B8-9572-9CD440CA296A}"/>
          </ac:picMkLst>
        </pc:picChg>
        <pc:picChg chg="add del mod">
          <ac:chgData name="Luiz Macedo" userId="7b3c29be-d15f-473b-8b79-40ce79eed9b8" providerId="ADAL" clId="{E02F46DC-E0B5-4390-8BB3-0DE87E96D786}" dt="2022-04-01T19:24:58.509" v="80"/>
          <ac:picMkLst>
            <pc:docMk/>
            <pc:sldMk cId="59849674" sldId="1951"/>
            <ac:picMk id="1058" creationId="{F6621540-1B2F-4975-B945-405D5A8CA7AC}"/>
          </ac:picMkLst>
        </pc:picChg>
        <pc:picChg chg="add del mod">
          <ac:chgData name="Luiz Macedo" userId="7b3c29be-d15f-473b-8b79-40ce79eed9b8" providerId="ADAL" clId="{E02F46DC-E0B5-4390-8BB3-0DE87E96D786}" dt="2022-04-01T19:24:58.509" v="80"/>
          <ac:picMkLst>
            <pc:docMk/>
            <pc:sldMk cId="59849674" sldId="1951"/>
            <ac:picMk id="1059" creationId="{88859923-2E4A-48F1-9AFF-05969E4BB8FC}"/>
          </ac:picMkLst>
        </pc:picChg>
        <pc:picChg chg="add del mod">
          <ac:chgData name="Luiz Macedo" userId="7b3c29be-d15f-473b-8b79-40ce79eed9b8" providerId="ADAL" clId="{E02F46DC-E0B5-4390-8BB3-0DE87E96D786}" dt="2022-04-01T19:24:58.509" v="80"/>
          <ac:picMkLst>
            <pc:docMk/>
            <pc:sldMk cId="59849674" sldId="1951"/>
            <ac:picMk id="1060" creationId="{C6F01DDC-8583-4CD4-B6A1-9C07DDEBEBAA}"/>
          </ac:picMkLst>
        </pc:picChg>
        <pc:picChg chg="add del mod">
          <ac:chgData name="Luiz Macedo" userId="7b3c29be-d15f-473b-8b79-40ce79eed9b8" providerId="ADAL" clId="{E02F46DC-E0B5-4390-8BB3-0DE87E96D786}" dt="2022-04-01T19:24:58.509" v="80"/>
          <ac:picMkLst>
            <pc:docMk/>
            <pc:sldMk cId="59849674" sldId="1951"/>
            <ac:picMk id="1061" creationId="{388285B9-6520-46CA-B9FC-D964E8236E9D}"/>
          </ac:picMkLst>
        </pc:picChg>
        <pc:picChg chg="add del mod">
          <ac:chgData name="Luiz Macedo" userId="7b3c29be-d15f-473b-8b79-40ce79eed9b8" providerId="ADAL" clId="{E02F46DC-E0B5-4390-8BB3-0DE87E96D786}" dt="2022-04-01T19:24:58.509" v="80"/>
          <ac:picMkLst>
            <pc:docMk/>
            <pc:sldMk cId="59849674" sldId="1951"/>
            <ac:picMk id="1062" creationId="{FBFC4CAD-991F-4981-97EC-3618C7FE4B19}"/>
          </ac:picMkLst>
        </pc:picChg>
        <pc:picChg chg="add del mod">
          <ac:chgData name="Luiz Macedo" userId="7b3c29be-d15f-473b-8b79-40ce79eed9b8" providerId="ADAL" clId="{E02F46DC-E0B5-4390-8BB3-0DE87E96D786}" dt="2022-04-01T19:24:58.509" v="80"/>
          <ac:picMkLst>
            <pc:docMk/>
            <pc:sldMk cId="59849674" sldId="1951"/>
            <ac:picMk id="1063" creationId="{323A7877-4F4F-4404-B31E-2DABFC6923C0}"/>
          </ac:picMkLst>
        </pc:picChg>
        <pc:picChg chg="add del mod">
          <ac:chgData name="Luiz Macedo" userId="7b3c29be-d15f-473b-8b79-40ce79eed9b8" providerId="ADAL" clId="{E02F46DC-E0B5-4390-8BB3-0DE87E96D786}" dt="2022-04-01T19:24:58.509" v="80"/>
          <ac:picMkLst>
            <pc:docMk/>
            <pc:sldMk cId="59849674" sldId="1951"/>
            <ac:picMk id="1064" creationId="{DB458364-51D3-41CB-99B5-D8123CDA23FA}"/>
          </ac:picMkLst>
        </pc:picChg>
        <pc:picChg chg="add del mod">
          <ac:chgData name="Luiz Macedo" userId="7b3c29be-d15f-473b-8b79-40ce79eed9b8" providerId="ADAL" clId="{E02F46DC-E0B5-4390-8BB3-0DE87E96D786}" dt="2022-04-01T19:24:58.509" v="80"/>
          <ac:picMkLst>
            <pc:docMk/>
            <pc:sldMk cId="59849674" sldId="1951"/>
            <ac:picMk id="1065" creationId="{727934B8-0696-4A7C-B145-AEEAAB6639F0}"/>
          </ac:picMkLst>
        </pc:picChg>
        <pc:picChg chg="add del mod">
          <ac:chgData name="Luiz Macedo" userId="7b3c29be-d15f-473b-8b79-40ce79eed9b8" providerId="ADAL" clId="{E02F46DC-E0B5-4390-8BB3-0DE87E96D786}" dt="2022-04-01T19:24:58.509" v="80"/>
          <ac:picMkLst>
            <pc:docMk/>
            <pc:sldMk cId="59849674" sldId="1951"/>
            <ac:picMk id="1066" creationId="{D5B833EF-9A0D-4715-99F6-9AEADB94C870}"/>
          </ac:picMkLst>
        </pc:picChg>
        <pc:cxnChg chg="add del mod">
          <ac:chgData name="Luiz Macedo" userId="7b3c29be-d15f-473b-8b79-40ce79eed9b8" providerId="ADAL" clId="{E02F46DC-E0B5-4390-8BB3-0DE87E96D786}" dt="2022-04-01T19:37:56.624" v="217"/>
          <ac:cxnSpMkLst>
            <pc:docMk/>
            <pc:sldMk cId="59849674" sldId="1951"/>
            <ac:cxnSpMk id="51" creationId="{5C2088D7-A69B-4DC1-B532-7905CFA76DD7}"/>
          </ac:cxnSpMkLst>
        </pc:cxnChg>
        <pc:cxnChg chg="add del mod">
          <ac:chgData name="Luiz Macedo" userId="7b3c29be-d15f-473b-8b79-40ce79eed9b8" providerId="ADAL" clId="{E02F46DC-E0B5-4390-8BB3-0DE87E96D786}" dt="2022-04-01T19:37:56.624" v="217"/>
          <ac:cxnSpMkLst>
            <pc:docMk/>
            <pc:sldMk cId="59849674" sldId="1951"/>
            <ac:cxnSpMk id="52" creationId="{6E8134DF-935B-4837-9D89-8965EFA94685}"/>
          </ac:cxnSpMkLst>
        </pc:cxnChg>
        <pc:cxnChg chg="add del mod">
          <ac:chgData name="Luiz Macedo" userId="7b3c29be-d15f-473b-8b79-40ce79eed9b8" providerId="ADAL" clId="{E02F46DC-E0B5-4390-8BB3-0DE87E96D786}" dt="2022-04-01T19:37:56.624" v="217"/>
          <ac:cxnSpMkLst>
            <pc:docMk/>
            <pc:sldMk cId="59849674" sldId="1951"/>
            <ac:cxnSpMk id="53" creationId="{47990F7A-2AF3-47E1-824B-8A54D68A2458}"/>
          </ac:cxnSpMkLst>
        </pc:cxnChg>
        <pc:cxnChg chg="add mod">
          <ac:chgData name="Luiz Macedo" userId="7b3c29be-d15f-473b-8b79-40ce79eed9b8" providerId="ADAL" clId="{E02F46DC-E0B5-4390-8BB3-0DE87E96D786}" dt="2022-04-01T19:39:34.081" v="273" actId="14100"/>
          <ac:cxnSpMkLst>
            <pc:docMk/>
            <pc:sldMk cId="59849674" sldId="1951"/>
            <ac:cxnSpMk id="160" creationId="{6E1D7998-8F1A-41DF-941F-9F302A01D54D}"/>
          </ac:cxnSpMkLst>
        </pc:cxnChg>
        <pc:cxnChg chg="add mod">
          <ac:chgData name="Luiz Macedo" userId="7b3c29be-d15f-473b-8b79-40ce79eed9b8" providerId="ADAL" clId="{E02F46DC-E0B5-4390-8BB3-0DE87E96D786}" dt="2022-04-01T19:43:25.587" v="339" actId="1076"/>
          <ac:cxnSpMkLst>
            <pc:docMk/>
            <pc:sldMk cId="59849674" sldId="1951"/>
            <ac:cxnSpMk id="161" creationId="{9C7E0BF9-F6CB-4803-9D2B-057D5F8E0C55}"/>
          </ac:cxnSpMkLst>
        </pc:cxnChg>
        <pc:cxnChg chg="add mod">
          <ac:chgData name="Luiz Macedo" userId="7b3c29be-d15f-473b-8b79-40ce79eed9b8" providerId="ADAL" clId="{E02F46DC-E0B5-4390-8BB3-0DE87E96D786}" dt="2022-04-01T19:39:39.810" v="275" actId="14100"/>
          <ac:cxnSpMkLst>
            <pc:docMk/>
            <pc:sldMk cId="59849674" sldId="1951"/>
            <ac:cxnSpMk id="162" creationId="{F23C9BD3-8CBE-4D60-856D-CCBFFE6DE701}"/>
          </ac:cxnSpMkLst>
        </pc:cxnChg>
      </pc:sldChg>
      <pc:sldChg chg="modNotesTx">
        <pc:chgData name="Luiz Macedo" userId="7b3c29be-d15f-473b-8b79-40ce79eed9b8" providerId="ADAL" clId="{E02F46DC-E0B5-4390-8BB3-0DE87E96D786}" dt="2022-04-20T22:56:49.103" v="381" actId="20577"/>
        <pc:sldMkLst>
          <pc:docMk/>
          <pc:sldMk cId="860505324" sldId="1957"/>
        </pc:sldMkLst>
      </pc:sldChg>
      <pc:sldChg chg="modSp mod">
        <pc:chgData name="Luiz Macedo" userId="7b3c29be-d15f-473b-8b79-40ce79eed9b8" providerId="ADAL" clId="{E02F46DC-E0B5-4390-8BB3-0DE87E96D786}" dt="2022-03-30T21:44:51.033" v="47" actId="20577"/>
        <pc:sldMkLst>
          <pc:docMk/>
          <pc:sldMk cId="1921655462" sldId="1960"/>
        </pc:sldMkLst>
        <pc:spChg chg="mod">
          <ac:chgData name="Luiz Macedo" userId="7b3c29be-d15f-473b-8b79-40ce79eed9b8" providerId="ADAL" clId="{E02F46DC-E0B5-4390-8BB3-0DE87E96D786}" dt="2022-03-30T21:44:51.033" v="47" actId="20577"/>
          <ac:spMkLst>
            <pc:docMk/>
            <pc:sldMk cId="1921655462" sldId="1960"/>
            <ac:spMk id="17" creationId="{00000000-0000-0000-0000-000000000000}"/>
          </ac:spMkLst>
        </pc:spChg>
      </pc:sldChg>
      <pc:sldChg chg="modSp add mod">
        <pc:chgData name="Luiz Macedo" userId="7b3c29be-d15f-473b-8b79-40ce79eed9b8" providerId="ADAL" clId="{E02F46DC-E0B5-4390-8BB3-0DE87E96D786}" dt="2022-03-11T02:43:28.080" v="18" actId="20577"/>
        <pc:sldMkLst>
          <pc:docMk/>
          <pc:sldMk cId="3196307179" sldId="1970"/>
        </pc:sldMkLst>
        <pc:spChg chg="mod">
          <ac:chgData name="Luiz Macedo" userId="7b3c29be-d15f-473b-8b79-40ce79eed9b8" providerId="ADAL" clId="{E02F46DC-E0B5-4390-8BB3-0DE87E96D786}" dt="2022-03-11T02:43:28.080" v="18" actId="20577"/>
          <ac:spMkLst>
            <pc:docMk/>
            <pc:sldMk cId="3196307179" sldId="1970"/>
            <ac:spMk id="2" creationId="{34BCC93F-DD28-4E50-9E4B-6295314A4CB2}"/>
          </ac:spMkLst>
        </pc:spChg>
      </pc:sldChg>
      <pc:sldMasterChg chg="delSldLayout">
        <pc:chgData name="Luiz Macedo" userId="7b3c29be-d15f-473b-8b79-40ce79eed9b8" providerId="ADAL" clId="{E02F46DC-E0B5-4390-8BB3-0DE87E96D786}" dt="2022-04-01T19:40:16.645" v="279" actId="2696"/>
        <pc:sldMasterMkLst>
          <pc:docMk/>
          <pc:sldMasterMk cId="1881724970" sldId="2147484551"/>
        </pc:sldMasterMkLst>
        <pc:sldLayoutChg chg="del">
          <pc:chgData name="Luiz Macedo" userId="7b3c29be-d15f-473b-8b79-40ce79eed9b8" providerId="ADAL" clId="{E02F46DC-E0B5-4390-8BB3-0DE87E96D786}" dt="2022-04-01T19:40:16.645" v="279" actId="2696"/>
          <pc:sldLayoutMkLst>
            <pc:docMk/>
            <pc:sldMasterMk cId="1881724970" sldId="2147484551"/>
            <pc:sldLayoutMk cId="2699336112" sldId="214748462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Tim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C41-402D-B68F-F5885B13975E}"/>
              </c:ext>
            </c:extLst>
          </c:dPt>
          <c:dPt>
            <c:idx val="1"/>
            <c:bubble3D val="0"/>
            <c:spPr>
              <a:solidFill>
                <a:schemeClr val="accent4"/>
              </a:solidFill>
              <a:ln w="28575">
                <a:solidFill>
                  <a:schemeClr val="lt1"/>
                </a:solidFill>
              </a:ln>
              <a:effectLst/>
            </c:spPr>
            <c:extLst>
              <c:ext xmlns:c16="http://schemas.microsoft.com/office/drawing/2014/chart" uri="{C3380CC4-5D6E-409C-BE32-E72D297353CC}">
                <c16:uniqueId val="{00000003-8C41-402D-B68F-F5885B13975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C41-402D-B68F-F5885B13975E}"/>
              </c:ext>
            </c:extLst>
          </c:dPt>
          <c:cat>
            <c:strRef>
              <c:f>Sheet1!$A$2:$A$4</c:f>
              <c:strCache>
                <c:ptCount val="2"/>
                <c:pt idx="0">
                  <c:v>Challenge</c:v>
                </c:pt>
                <c:pt idx="1">
                  <c:v>Hour</c:v>
                </c:pt>
              </c:strCache>
            </c:strRef>
          </c:cat>
          <c:val>
            <c:numRef>
              <c:f>Sheet1!$B$2:$B$4</c:f>
              <c:numCache>
                <c:formatCode>General</c:formatCode>
                <c:ptCount val="3"/>
                <c:pt idx="0">
                  <c:v>60</c:v>
                </c:pt>
                <c:pt idx="1">
                  <c:v>0</c:v>
                </c:pt>
              </c:numCache>
            </c:numRef>
          </c:val>
          <c:extLst>
            <c:ext xmlns:c16="http://schemas.microsoft.com/office/drawing/2014/chart" uri="{C3380CC4-5D6E-409C-BE32-E72D297353CC}">
              <c16:uniqueId val="{00000006-8C41-402D-B68F-F5885B13975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Tim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C41-402D-B68F-F5885B13975E}"/>
              </c:ext>
            </c:extLst>
          </c:dPt>
          <c:dPt>
            <c:idx val="1"/>
            <c:bubble3D val="0"/>
            <c:spPr>
              <a:solidFill>
                <a:schemeClr val="accent4"/>
              </a:solidFill>
              <a:ln w="28575">
                <a:solidFill>
                  <a:schemeClr val="lt1"/>
                </a:solidFill>
              </a:ln>
              <a:effectLst/>
            </c:spPr>
            <c:extLst>
              <c:ext xmlns:c16="http://schemas.microsoft.com/office/drawing/2014/chart" uri="{C3380CC4-5D6E-409C-BE32-E72D297353CC}">
                <c16:uniqueId val="{00000003-8C41-402D-B68F-F5885B13975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C41-402D-B68F-F5885B13975E}"/>
              </c:ext>
            </c:extLst>
          </c:dPt>
          <c:cat>
            <c:strRef>
              <c:f>Sheet1!$A$2:$A$4</c:f>
              <c:strCache>
                <c:ptCount val="2"/>
                <c:pt idx="0">
                  <c:v>Challenge</c:v>
                </c:pt>
                <c:pt idx="1">
                  <c:v>Hour</c:v>
                </c:pt>
              </c:strCache>
            </c:strRef>
          </c:cat>
          <c:val>
            <c:numRef>
              <c:f>Sheet1!$B$2:$B$4</c:f>
              <c:numCache>
                <c:formatCode>General</c:formatCode>
                <c:ptCount val="3"/>
                <c:pt idx="0">
                  <c:v>60</c:v>
                </c:pt>
                <c:pt idx="1">
                  <c:v>0</c:v>
                </c:pt>
              </c:numCache>
            </c:numRef>
          </c:val>
          <c:extLst>
            <c:ext xmlns:c16="http://schemas.microsoft.com/office/drawing/2014/chart" uri="{C3380CC4-5D6E-409C-BE32-E72D297353CC}">
              <c16:uniqueId val="{00000006-8C41-402D-B68F-F5885B13975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1567</cdr:x>
      <cdr:y>0.46757</cdr:y>
    </cdr:from>
    <cdr:to>
      <cdr:x>0.68433</cdr:x>
      <cdr:y>0.89347</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936976" y="925236"/>
          <a:ext cx="1094263" cy="84278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200" dirty="0">
              <a:solidFill>
                <a:schemeClr val="bg1"/>
              </a:solidFill>
            </a:rPr>
            <a:t>60 </a:t>
          </a:r>
          <a:br>
            <a:rPr lang="en-US" sz="1400" dirty="0">
              <a:solidFill>
                <a:schemeClr val="bg1"/>
              </a:solidFill>
            </a:rPr>
          </a:br>
          <a:r>
            <a:rPr lang="en-US" sz="1400" dirty="0">
              <a:solidFill>
                <a:schemeClr val="bg1"/>
              </a:solidFill>
            </a:rPr>
            <a:t>minutes</a:t>
          </a:r>
        </a:p>
      </cdr:txBody>
    </cdr:sp>
  </cdr:relSizeAnchor>
</c:userShapes>
</file>

<file path=ppt/drawings/drawing2.xml><?xml version="1.0" encoding="utf-8"?>
<c:userShapes xmlns:c="http://schemas.openxmlformats.org/drawingml/2006/chart">
  <cdr:relSizeAnchor xmlns:cdr="http://schemas.openxmlformats.org/drawingml/2006/chartDrawing">
    <cdr:from>
      <cdr:x>0.31567</cdr:x>
      <cdr:y>0.46757</cdr:y>
    </cdr:from>
    <cdr:to>
      <cdr:x>0.68433</cdr:x>
      <cdr:y>0.89347</cdr:y>
    </cdr:to>
    <cdr:sp macro="" textlink="">
      <cdr:nvSpPr>
        <cdr:cNvPr id="2" name="TextBox 1">
          <a:extLst xmlns:a="http://schemas.openxmlformats.org/drawingml/2006/main">
            <a:ext uri="{FF2B5EF4-FFF2-40B4-BE49-F238E27FC236}">
              <a16:creationId xmlns:a16="http://schemas.microsoft.com/office/drawing/2014/main" id="{EB42EC79-032F-4608-BC46-F537941538F9}"/>
            </a:ext>
          </a:extLst>
        </cdr:cNvPr>
        <cdr:cNvSpPr txBox="1"/>
      </cdr:nvSpPr>
      <cdr:spPr>
        <a:xfrm xmlns:a="http://schemas.openxmlformats.org/drawingml/2006/main">
          <a:off x="936976" y="925236"/>
          <a:ext cx="1094263" cy="84278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3200" dirty="0">
              <a:solidFill>
                <a:schemeClr val="bg1"/>
              </a:solidFill>
            </a:rPr>
            <a:t>60 </a:t>
          </a:r>
          <a:br>
            <a:rPr lang="en-US" sz="1400" dirty="0">
              <a:solidFill>
                <a:schemeClr val="bg1"/>
              </a:solidFill>
            </a:rPr>
          </a:br>
          <a:r>
            <a:rPr lang="en-US" sz="1400" dirty="0">
              <a:solidFill>
                <a:schemeClr val="bg1"/>
              </a:solidFill>
            </a:rPr>
            <a:t>minute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2/7/2022 3:2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2/7/2022 3:27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panose="020B0502040204020203"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panose="020B0502040204020203"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portal.atp.azure.com/"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Open-source_software"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619146B-24F9-441E-A368-DB3B5A84C1D4}" type="datetime8">
              <a:rPr lang="en-US" smtClean="0"/>
              <a:t>12/7/2022 3: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0395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1957260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8581931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teSource is now https://www.mend.io. </a:t>
            </a:r>
            <a:r>
              <a:rPr lang="en-US" dirty="0" err="1"/>
              <a:t>WhiteSource</a:t>
            </a:r>
            <a:r>
              <a:rPr lang="en-US" dirty="0"/>
              <a:t> Bolt is now Mend Bolt.</a:t>
            </a:r>
          </a:p>
          <a:p>
            <a:endParaRPr lang="en-US" dirty="0"/>
          </a:p>
          <a:p>
            <a:endParaRPr lang="en-US" dirty="0"/>
          </a:p>
          <a:p>
            <a:r>
              <a:rPr lang="en-US" dirty="0"/>
              <a:t>Refer to: https://marketplace.visualstudio.com/items?itemName=whitesource.whiteSource-bolt-v2</a:t>
            </a:r>
          </a:p>
          <a:p>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7227061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379157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234E77-A9B7-4E08-94CE-2EBEF68CD23B}" type="slidenum">
              <a:rPr lang="en-US" smtClean="0"/>
              <a:t>28</a:t>
            </a:fld>
            <a:endParaRPr lang="en-US"/>
          </a:p>
        </p:txBody>
      </p:sp>
    </p:spTree>
    <p:extLst>
      <p:ext uri="{BB962C8B-B14F-4D97-AF65-F5344CB8AC3E}">
        <p14:creationId xmlns:p14="http://schemas.microsoft.com/office/powerpoint/2010/main" val="1560980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05937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6943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dirty="0">
                <a:solidFill>
                  <a:srgbClr val="000000"/>
                </a:solidFill>
                <a:effectLst/>
                <a:latin typeface="Consolas" panose="020B0609020204030204" pitchFamily="49" charset="0"/>
              </a:rPr>
              <a:t>See </a:t>
            </a:r>
            <a:r>
              <a:rPr lang="en-US" b="0" dirty="0">
                <a:solidFill>
                  <a:srgbClr val="A31515"/>
                </a:solidFill>
                <a:effectLst/>
                <a:latin typeface="Consolas" panose="020B0609020204030204" pitchFamily="49" charset="0"/>
              </a:rPr>
              <a:t>http://owasp.org</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3436051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71219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To improve security in general use Azure Resource Manager templates, or other code-based configurations, and Infrastructure as Code best practices, such as only making changes in templates, thereby making them traceable and repeatable. Also, use provisioning and configuration technologies such as Desired State Configuration, Azure Automation, and other third-party tools and products that integrate seamlessly with Azure.</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253457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0695085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7/2022 3: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851645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Scenario 1:</a:t>
            </a:r>
          </a:p>
          <a:p>
            <a:r>
              <a:rPr lang="en-IE" sz="882" b="0" i="0" u="none" strike="noStrike" kern="1200" dirty="0">
                <a:solidFill>
                  <a:schemeClr val="tx1"/>
                </a:solidFill>
                <a:effectLst/>
                <a:latin typeface="Segoe UI Light" pitchFamily="34" charset="0"/>
                <a:ea typeface="+mn-ea"/>
                <a:cs typeface="+mn-cs"/>
              </a:rPr>
              <a:t>Many organizations learn how to respond to security incidents only after suffering an attack. To reduce costs and damage, it’s important to have an incident response plan in place before an attack occurs. You can use Microsoft Defender for Cloud in different stages of an incident response.</a:t>
            </a:r>
          </a:p>
          <a:p>
            <a:endParaRPr lang="en-IE" sz="882" b="0" i="0" u="none" strike="noStrike" kern="1200" dirty="0">
              <a:solidFill>
                <a:schemeClr val="tx1"/>
              </a:solidFill>
              <a:effectLst/>
              <a:latin typeface="Segoe UI Light" pitchFamily="34" charset="0"/>
              <a:ea typeface="+mn-ea"/>
              <a:cs typeface="+mn-cs"/>
            </a:endParaRPr>
          </a:p>
          <a:p>
            <a:r>
              <a:rPr lang="en-IE" sz="882" b="0" i="0" u="none" strike="noStrike" kern="1200" dirty="0">
                <a:solidFill>
                  <a:schemeClr val="tx1"/>
                </a:solidFill>
                <a:effectLst/>
                <a:latin typeface="Segoe UI Light" pitchFamily="34" charset="0"/>
                <a:ea typeface="+mn-ea"/>
                <a:cs typeface="+mn-cs"/>
              </a:rPr>
              <a:t>You can use Security </a:t>
            </a:r>
            <a:r>
              <a:rPr lang="en-IE" sz="882" b="0" i="0" u="none" strike="noStrike" kern="1200" dirty="0" err="1">
                <a:solidFill>
                  <a:schemeClr val="tx1"/>
                </a:solidFill>
                <a:effectLst/>
                <a:latin typeface="Segoe UI Light" pitchFamily="34" charset="0"/>
                <a:ea typeface="+mn-ea"/>
                <a:cs typeface="+mn-cs"/>
              </a:rPr>
              <a:t>Center</a:t>
            </a:r>
            <a:r>
              <a:rPr lang="en-IE" sz="882" b="0" i="0" u="none" strike="noStrike" kern="1200" dirty="0">
                <a:solidFill>
                  <a:schemeClr val="tx1"/>
                </a:solidFill>
                <a:effectLst/>
                <a:latin typeface="Segoe UI Light" pitchFamily="34" charset="0"/>
                <a:ea typeface="+mn-ea"/>
                <a:cs typeface="+mn-cs"/>
              </a:rPr>
              <a:t> during the detect, assess, and diagnose stages.</a:t>
            </a:r>
          </a:p>
          <a:p>
            <a:endParaRPr lang="en-IE" sz="882" b="0" i="0" u="none" strike="noStrike" kern="1200" dirty="0">
              <a:solidFill>
                <a:schemeClr val="tx1"/>
              </a:solidFill>
              <a:effectLst/>
              <a:latin typeface="Segoe UI Light" pitchFamily="34" charset="0"/>
              <a:ea typeface="+mn-ea"/>
              <a:cs typeface="+mn-cs"/>
            </a:endParaRPr>
          </a:p>
          <a:p>
            <a:r>
              <a:rPr lang="en-IE" sz="882" b="1" i="0" u="none" strike="noStrike" kern="1200" dirty="0">
                <a:solidFill>
                  <a:schemeClr val="tx1"/>
                </a:solidFill>
                <a:effectLst/>
                <a:latin typeface="Segoe UI Light" pitchFamily="34" charset="0"/>
                <a:ea typeface="+mn-ea"/>
                <a:cs typeface="+mn-cs"/>
              </a:rPr>
              <a:t>- Detect: </a:t>
            </a:r>
            <a:r>
              <a:rPr lang="en-IE" sz="882" b="0" i="0" u="none" strike="noStrike" kern="1200" dirty="0">
                <a:solidFill>
                  <a:schemeClr val="tx1"/>
                </a:solidFill>
                <a:effectLst/>
                <a:latin typeface="Segoe UI Light" pitchFamily="34" charset="0"/>
                <a:ea typeface="+mn-ea"/>
                <a:cs typeface="+mn-cs"/>
              </a:rPr>
              <a:t>Review the first indication of an event investigation. Example: Use the Security </a:t>
            </a:r>
            <a:r>
              <a:rPr lang="en-IE" sz="882" b="0" i="0" u="none" strike="noStrike" kern="1200" dirty="0" err="1">
                <a:solidFill>
                  <a:schemeClr val="tx1"/>
                </a:solidFill>
                <a:effectLst/>
                <a:latin typeface="Segoe UI Light" pitchFamily="34" charset="0"/>
                <a:ea typeface="+mn-ea"/>
                <a:cs typeface="+mn-cs"/>
              </a:rPr>
              <a:t>Center</a:t>
            </a:r>
            <a:r>
              <a:rPr lang="en-IE" sz="882" b="0" i="0" u="none" strike="noStrike" kern="1200" dirty="0">
                <a:solidFill>
                  <a:schemeClr val="tx1"/>
                </a:solidFill>
                <a:effectLst/>
                <a:latin typeface="Segoe UI Light" pitchFamily="34" charset="0"/>
                <a:ea typeface="+mn-ea"/>
                <a:cs typeface="+mn-cs"/>
              </a:rPr>
              <a:t> dashboard to review the initial verification that a high-priority security alert was raised.</a:t>
            </a:r>
          </a:p>
          <a:p>
            <a:r>
              <a:rPr lang="en-IE" sz="882" b="1" i="0" u="none" strike="noStrike" kern="1200" dirty="0">
                <a:solidFill>
                  <a:schemeClr val="tx1"/>
                </a:solidFill>
                <a:effectLst/>
                <a:latin typeface="Segoe UI Light" pitchFamily="34" charset="0"/>
                <a:ea typeface="+mn-ea"/>
                <a:cs typeface="+mn-cs"/>
              </a:rPr>
              <a:t>- Assess: </a:t>
            </a:r>
            <a:r>
              <a:rPr lang="en-IE" sz="882" b="0" i="0" u="none" strike="noStrike" kern="1200" dirty="0">
                <a:solidFill>
                  <a:schemeClr val="tx1"/>
                </a:solidFill>
                <a:effectLst/>
                <a:latin typeface="Segoe UI Light" pitchFamily="34" charset="0"/>
                <a:ea typeface="+mn-ea"/>
                <a:cs typeface="+mn-cs"/>
              </a:rPr>
              <a:t>Perform the initial assessment to obtain more information about the suspicious activity. Example: Obtain more information about the security alert.</a:t>
            </a:r>
          </a:p>
          <a:p>
            <a:r>
              <a:rPr lang="en-IE" sz="882" b="1" i="0" u="none" strike="noStrike" kern="1200" dirty="0">
                <a:solidFill>
                  <a:schemeClr val="tx1"/>
                </a:solidFill>
                <a:effectLst/>
                <a:latin typeface="Segoe UI Light" pitchFamily="34" charset="0"/>
                <a:ea typeface="+mn-ea"/>
                <a:cs typeface="+mn-cs"/>
              </a:rPr>
              <a:t>- Diagnose: </a:t>
            </a:r>
            <a:r>
              <a:rPr lang="en-IE" sz="882" b="0" i="0" u="none" strike="noStrike" kern="1200" dirty="0">
                <a:solidFill>
                  <a:schemeClr val="tx1"/>
                </a:solidFill>
                <a:effectLst/>
                <a:latin typeface="Segoe UI Light" pitchFamily="34" charset="0"/>
                <a:ea typeface="+mn-ea"/>
                <a:cs typeface="+mn-cs"/>
              </a:rPr>
              <a:t>Conduct a technical investigation and identify containment, mitigation, and workaround strategies. Example: Follow the remediation steps described by Security </a:t>
            </a:r>
            <a:r>
              <a:rPr lang="en-IE" sz="882" b="0" i="0" u="none" strike="noStrike" kern="1200" dirty="0" err="1">
                <a:solidFill>
                  <a:schemeClr val="tx1"/>
                </a:solidFill>
                <a:effectLst/>
                <a:latin typeface="Segoe UI Light" pitchFamily="34" charset="0"/>
                <a:ea typeface="+mn-ea"/>
                <a:cs typeface="+mn-cs"/>
              </a:rPr>
              <a:t>Center</a:t>
            </a:r>
            <a:r>
              <a:rPr lang="en-IE" sz="882" b="0" i="0" u="none" strike="noStrike" kern="1200" dirty="0">
                <a:solidFill>
                  <a:schemeClr val="tx1"/>
                </a:solidFill>
                <a:effectLst/>
                <a:latin typeface="Segoe UI Light" pitchFamily="34" charset="0"/>
                <a:ea typeface="+mn-ea"/>
                <a:cs typeface="+mn-cs"/>
              </a:rPr>
              <a:t> in that particular security alert.</a:t>
            </a:r>
          </a:p>
          <a:p>
            <a:endParaRPr lang="en-US" dirty="0"/>
          </a:p>
          <a:p>
            <a:endParaRPr lang="en-US" dirty="0"/>
          </a:p>
          <a:p>
            <a:r>
              <a:rPr lang="en-US" b="1" dirty="0"/>
              <a:t>Scenario 2:</a:t>
            </a:r>
          </a:p>
          <a:p>
            <a:r>
              <a:rPr lang="en-IE" sz="882" b="0" i="0" u="none" strike="noStrike" kern="1200" dirty="0">
                <a:solidFill>
                  <a:schemeClr val="tx1"/>
                </a:solidFill>
                <a:effectLst/>
                <a:latin typeface="Segoe UI Light" pitchFamily="34" charset="0"/>
                <a:ea typeface="+mn-ea"/>
                <a:cs typeface="+mn-cs"/>
              </a:rPr>
              <a:t>You can reduce the chances of a significant security event by configuring a security policy, and then implementing the recommendations provided by Microsoft Defender for Cloud.</a:t>
            </a:r>
          </a:p>
          <a:p>
            <a:endParaRPr lang="en-IE" sz="882" b="0" i="0" u="none" strike="noStrike" kern="1200" dirty="0">
              <a:solidFill>
                <a:schemeClr val="tx1"/>
              </a:solidFill>
              <a:effectLst/>
              <a:latin typeface="Segoe UI Light" pitchFamily="34" charset="0"/>
              <a:ea typeface="+mn-ea"/>
              <a:cs typeface="+mn-cs"/>
            </a:endParaRPr>
          </a:p>
          <a:p>
            <a:r>
              <a:rPr lang="en-IE" sz="882" b="0" i="0" u="none" strike="noStrike" kern="1200" dirty="0">
                <a:solidFill>
                  <a:schemeClr val="tx1"/>
                </a:solidFill>
                <a:effectLst/>
                <a:latin typeface="Segoe UI Light" pitchFamily="34" charset="0"/>
                <a:ea typeface="+mn-ea"/>
                <a:cs typeface="+mn-cs"/>
              </a:rPr>
              <a:t>A </a:t>
            </a:r>
            <a:r>
              <a:rPr lang="en-IE" sz="882" b="0" i="1" u="none" strike="noStrike" kern="1200" dirty="0">
                <a:solidFill>
                  <a:schemeClr val="tx1"/>
                </a:solidFill>
                <a:effectLst/>
                <a:latin typeface="Segoe UI Light" pitchFamily="34" charset="0"/>
                <a:ea typeface="+mn-ea"/>
                <a:cs typeface="+mn-cs"/>
              </a:rPr>
              <a:t>security policy</a:t>
            </a:r>
            <a:r>
              <a:rPr lang="en-IE" sz="882" b="0" i="0" u="none" strike="noStrike" kern="1200" dirty="0">
                <a:solidFill>
                  <a:schemeClr val="tx1"/>
                </a:solidFill>
                <a:effectLst/>
                <a:latin typeface="Segoe UI Light" pitchFamily="34" charset="0"/>
                <a:ea typeface="+mn-ea"/>
                <a:cs typeface="+mn-cs"/>
              </a:rPr>
              <a:t> defines the set of controls that are recommended for resources within that specified subscription or resource group. In Security </a:t>
            </a:r>
            <a:r>
              <a:rPr lang="en-IE" sz="882" b="0" i="0" u="none" strike="noStrike" kern="1200" dirty="0" err="1">
                <a:solidFill>
                  <a:schemeClr val="tx1"/>
                </a:solidFill>
                <a:effectLst/>
                <a:latin typeface="Segoe UI Light" pitchFamily="34" charset="0"/>
                <a:ea typeface="+mn-ea"/>
                <a:cs typeface="+mn-cs"/>
              </a:rPr>
              <a:t>Center</a:t>
            </a:r>
            <a:r>
              <a:rPr lang="en-IE" sz="882" b="0" i="0" u="none" strike="noStrike" kern="1200" dirty="0">
                <a:solidFill>
                  <a:schemeClr val="tx1"/>
                </a:solidFill>
                <a:effectLst/>
                <a:latin typeface="Segoe UI Light" pitchFamily="34" charset="0"/>
                <a:ea typeface="+mn-ea"/>
                <a:cs typeface="+mn-cs"/>
              </a:rPr>
              <a:t>, you define policies according to your company's security requirements.</a:t>
            </a:r>
          </a:p>
          <a:p>
            <a:endParaRPr lang="en-US" dirty="0"/>
          </a:p>
          <a:p>
            <a:r>
              <a:rPr lang="en-IE" sz="882" b="0" i="0" u="none" strike="noStrike" kern="1200" dirty="0">
                <a:solidFill>
                  <a:schemeClr val="tx1"/>
                </a:solidFill>
                <a:effectLst/>
                <a:latin typeface="Segoe UI Light" pitchFamily="34" charset="0"/>
                <a:ea typeface="+mn-ea"/>
                <a:cs typeface="+mn-cs"/>
              </a:rPr>
              <a:t>Security </a:t>
            </a:r>
            <a:r>
              <a:rPr lang="en-IE" sz="882" b="0" i="0" u="none" strike="noStrike" kern="1200" dirty="0" err="1">
                <a:solidFill>
                  <a:schemeClr val="tx1"/>
                </a:solidFill>
                <a:effectLst/>
                <a:latin typeface="Segoe UI Light" pitchFamily="34" charset="0"/>
                <a:ea typeface="+mn-ea"/>
                <a:cs typeface="+mn-cs"/>
              </a:rPr>
              <a:t>Center</a:t>
            </a:r>
            <a:r>
              <a:rPr lang="en-IE" sz="882" b="0" i="0" u="none" strike="noStrike" kern="1200" dirty="0">
                <a:solidFill>
                  <a:schemeClr val="tx1"/>
                </a:solidFill>
                <a:effectLst/>
                <a:latin typeface="Segoe UI Light" pitchFamily="34" charset="0"/>
                <a:ea typeface="+mn-ea"/>
                <a:cs typeface="+mn-cs"/>
              </a:rPr>
              <a:t> </a:t>
            </a:r>
            <a:r>
              <a:rPr lang="en-IE" sz="882" b="0" i="0" u="none" strike="noStrike" kern="1200" dirty="0" err="1">
                <a:solidFill>
                  <a:schemeClr val="tx1"/>
                </a:solidFill>
                <a:effectLst/>
                <a:latin typeface="Segoe UI Light" pitchFamily="34" charset="0"/>
                <a:ea typeface="+mn-ea"/>
                <a:cs typeface="+mn-cs"/>
              </a:rPr>
              <a:t>analyzes</a:t>
            </a:r>
            <a:r>
              <a:rPr lang="en-IE" sz="882" b="0" i="0" u="none" strike="noStrike" kern="1200" dirty="0">
                <a:solidFill>
                  <a:schemeClr val="tx1"/>
                </a:solidFill>
                <a:effectLst/>
                <a:latin typeface="Segoe UI Light" pitchFamily="34" charset="0"/>
                <a:ea typeface="+mn-ea"/>
                <a:cs typeface="+mn-cs"/>
              </a:rPr>
              <a:t> the security state of your Azure resources. When Security </a:t>
            </a:r>
            <a:r>
              <a:rPr lang="en-IE" sz="882" b="0" i="0" u="none" strike="noStrike" kern="1200" dirty="0" err="1">
                <a:solidFill>
                  <a:schemeClr val="tx1"/>
                </a:solidFill>
                <a:effectLst/>
                <a:latin typeface="Segoe UI Light" pitchFamily="34" charset="0"/>
                <a:ea typeface="+mn-ea"/>
                <a:cs typeface="+mn-cs"/>
              </a:rPr>
              <a:t>Center</a:t>
            </a:r>
            <a:r>
              <a:rPr lang="en-IE" sz="882" b="0" i="0" u="none" strike="noStrike" kern="1200" dirty="0">
                <a:solidFill>
                  <a:schemeClr val="tx1"/>
                </a:solidFill>
                <a:effectLst/>
                <a:latin typeface="Segoe UI Light" pitchFamily="34" charset="0"/>
                <a:ea typeface="+mn-ea"/>
                <a:cs typeface="+mn-cs"/>
              </a:rPr>
              <a:t> identifies potential security vulnerabilities, it creates recommendations based on the controls set in the security policy. The recommendations guide you through the process of configuring the needed security controls</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662306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Policy Check Gate - https://docs.microsoft.com/en-us/azure/devops/pipelines/tasks/deploy/azure-policy-check-gate?view=vst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745354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882" b="0" i="0" u="none" strike="noStrike" kern="1200" dirty="0">
                <a:solidFill>
                  <a:schemeClr val="tx1"/>
                </a:solidFill>
                <a:effectLst/>
                <a:latin typeface="Segoe UI Light" pitchFamily="34" charset="0"/>
                <a:ea typeface="+mn-ea"/>
                <a:cs typeface="+mn-cs"/>
              </a:rPr>
              <a:t>A </a:t>
            </a:r>
            <a:r>
              <a:rPr lang="en-IE" sz="882" b="0" i="1" u="none" strike="noStrike" kern="1200" dirty="0">
                <a:solidFill>
                  <a:schemeClr val="tx1"/>
                </a:solidFill>
                <a:effectLst/>
                <a:latin typeface="Segoe UI Light" pitchFamily="34" charset="0"/>
                <a:ea typeface="+mn-ea"/>
                <a:cs typeface="+mn-cs"/>
              </a:rPr>
              <a:t>policy definition</a:t>
            </a:r>
            <a:r>
              <a:rPr lang="en-IE" sz="882" b="0" i="0" u="none" strike="noStrike" kern="1200" dirty="0">
                <a:solidFill>
                  <a:schemeClr val="tx1"/>
                </a:solidFill>
                <a:effectLst/>
                <a:latin typeface="Segoe UI Light" pitchFamily="34" charset="0"/>
                <a:ea typeface="+mn-ea"/>
                <a:cs typeface="+mn-cs"/>
              </a:rPr>
              <a:t> expresses what to evaluate and what action to take. For example, you could prevent VMs from deploying if they are exposed to a public IP address. You also could prevent a particular hard disk from being used when deploying VMs to control costs.</a:t>
            </a:r>
          </a:p>
          <a:p>
            <a:endParaRPr lang="en-IE" sz="882" b="0" i="0" u="none" strike="noStrike" kern="1200" dirty="0">
              <a:solidFill>
                <a:schemeClr val="tx1"/>
              </a:solidFill>
              <a:effectLst/>
              <a:latin typeface="Segoe UI Light" pitchFamily="34" charset="0"/>
              <a:ea typeface="+mn-ea"/>
              <a:cs typeface="+mn-cs"/>
            </a:endParaRPr>
          </a:p>
          <a:p>
            <a:r>
              <a:rPr lang="en-IE" sz="882" b="0" i="0" u="none" strike="noStrike" kern="1200" dirty="0">
                <a:solidFill>
                  <a:schemeClr val="tx1"/>
                </a:solidFill>
                <a:effectLst/>
                <a:latin typeface="Segoe UI Light" pitchFamily="34" charset="0"/>
                <a:ea typeface="+mn-ea"/>
                <a:cs typeface="+mn-cs"/>
              </a:rPr>
              <a:t>Every policy definition has conditions under which it is enforced, and an accompanying effect that takes place if the conditions are met.</a:t>
            </a:r>
          </a:p>
          <a:p>
            <a:r>
              <a:rPr lang="en-IE" sz="882" b="0" i="0" u="none" strike="noStrike" kern="1200" dirty="0">
                <a:solidFill>
                  <a:schemeClr val="tx1"/>
                </a:solidFill>
                <a:effectLst/>
                <a:latin typeface="Segoe UI Light" pitchFamily="34" charset="0"/>
                <a:ea typeface="+mn-ea"/>
                <a:cs typeface="+mn-cs"/>
              </a:rPr>
              <a:t>The process of applying a policy to your resources consist of the following steps:</a:t>
            </a:r>
          </a:p>
          <a:p>
            <a:r>
              <a:rPr lang="en-IE" sz="882" b="0" i="0" u="none" strike="noStrike" kern="1200" dirty="0">
                <a:solidFill>
                  <a:schemeClr val="tx1"/>
                </a:solidFill>
                <a:effectLst/>
                <a:latin typeface="Segoe UI Light" pitchFamily="34" charset="0"/>
                <a:ea typeface="+mn-ea"/>
                <a:cs typeface="+mn-cs"/>
              </a:rPr>
              <a:t>1. Create a policy definition.</a:t>
            </a:r>
          </a:p>
          <a:p>
            <a:r>
              <a:rPr lang="en-IE" sz="882" b="0" i="0" u="none" strike="noStrike" kern="1200" dirty="0">
                <a:solidFill>
                  <a:schemeClr val="tx1"/>
                </a:solidFill>
                <a:effectLst/>
                <a:latin typeface="Segoe UI Light" pitchFamily="34" charset="0"/>
                <a:ea typeface="+mn-ea"/>
                <a:cs typeface="+mn-cs"/>
              </a:rPr>
              <a:t>2. Assign a definition to a scope of resources.</a:t>
            </a:r>
          </a:p>
          <a:p>
            <a:r>
              <a:rPr lang="en-IE" sz="882" b="0" i="0" u="none" strike="noStrike" kern="1200" dirty="0">
                <a:solidFill>
                  <a:schemeClr val="tx1"/>
                </a:solidFill>
                <a:effectLst/>
                <a:latin typeface="Segoe UI Light" pitchFamily="34" charset="0"/>
                <a:ea typeface="+mn-ea"/>
                <a:cs typeface="+mn-cs"/>
              </a:rPr>
              <a:t>3. View policy evaluation result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5971283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7612415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22431085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Light" pitchFamily="34" charset="0"/>
                <a:ea typeface="+mn-ea"/>
                <a:cs typeface="+mn-cs"/>
              </a:rPr>
              <a:t>Azure Blueprints is also useful in Azure DevOps scenarios where blueprints are associated with specific build artifacts and release pipelines, and can be tracked more rigorously. </a:t>
            </a:r>
          </a:p>
          <a:p>
            <a:endParaRPr lang="en-US" sz="882" b="0" i="0" u="none" strike="noStrike" kern="1200">
              <a:solidFill>
                <a:schemeClr val="tx1"/>
              </a:solidFill>
              <a:effectLst/>
              <a:latin typeface="Segoe UI Light" pitchFamily="34" charset="0"/>
              <a:ea typeface="+mn-ea"/>
              <a:cs typeface="+mn-cs"/>
            </a:endParaRPr>
          </a:p>
          <a:p>
            <a:r>
              <a:rPr lang="en-US" b="1">
                <a:effectLst/>
              </a:rPr>
              <a:t>Note</a:t>
            </a:r>
            <a:r>
              <a:rPr lang="en-US">
                <a:effectLst/>
              </a:rPr>
              <a:t>: At the time of writing, Azure Blueprints is in </a:t>
            </a:r>
            <a:r>
              <a:rPr lang="en-US" b="1">
                <a:effectLst/>
              </a:rPr>
              <a:t>preview</a:t>
            </a:r>
            <a:r>
              <a:rPr lang="en-US">
                <a:effectLst/>
              </a:rPr>
              <a:t> and has not yet been released publicly.</a:t>
            </a:r>
          </a:p>
          <a:p>
            <a:endParaRPr lang="en-US">
              <a:effectLst/>
            </a:endParaRPr>
          </a:p>
          <a:p>
            <a:r>
              <a:rPr lang="en-IE" sz="900" b="1"/>
              <a:t>Discussion:</a:t>
            </a:r>
            <a:r>
              <a:rPr lang="en-IE" sz="900"/>
              <a:t> How to Azure Blueprint policies differ from templates?</a:t>
            </a:r>
          </a:p>
          <a:p>
            <a:r>
              <a:rPr lang="en-IE" sz="900" b="1">
                <a:effectLst/>
              </a:rPr>
              <a:t>Answer:</a:t>
            </a:r>
            <a:endParaRPr lang="en-US" b="1">
              <a:effectLst/>
            </a:endParaRPr>
          </a:p>
          <a:p>
            <a:r>
              <a:rPr lang="en-IE" sz="882" b="0" i="0" u="none" strike="noStrike" kern="1200">
                <a:solidFill>
                  <a:schemeClr val="tx1"/>
                </a:solidFill>
                <a:effectLst/>
                <a:latin typeface="Segoe UI Light" pitchFamily="34" charset="0"/>
                <a:ea typeface="+mn-ea"/>
                <a:cs typeface="+mn-cs"/>
              </a:rPr>
              <a:t>The blueprints in Azure Blueprints are different from Azure Resource Manager templates. When Azure Resource Manager templates deploy resources, they have no active relationship with the deployed resources (they exist in a local environment or in source control). By contrast, with Azure Blueprints, each deployment is tied to an Azure Blueprints package. This means that the relationship with resources will be maintained, even after deployment. In this way, maintaining relationships improves auditing and tracking capabilities.</a:t>
            </a:r>
            <a:endParaRPr lang="en-US">
              <a:effectLst/>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0243444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E" sz="882" b="1" i="0" u="none" strike="noStrike" kern="1200" dirty="0">
                <a:solidFill>
                  <a:schemeClr val="tx1"/>
                </a:solidFill>
                <a:effectLst/>
                <a:latin typeface="Segoe UI Light" pitchFamily="34" charset="0"/>
                <a:ea typeface="+mn-ea"/>
                <a:cs typeface="+mn-cs"/>
              </a:rPr>
              <a:t>Microsoft Defender portal. </a:t>
            </a:r>
            <a:r>
              <a:rPr lang="en-IE" sz="882" b="0" i="0" u="none" strike="noStrike" kern="1200" dirty="0">
                <a:solidFill>
                  <a:schemeClr val="tx1"/>
                </a:solidFill>
                <a:effectLst/>
                <a:latin typeface="Segoe UI Light" pitchFamily="34" charset="0"/>
                <a:ea typeface="+mn-ea"/>
                <a:cs typeface="+mn-cs"/>
              </a:rPr>
              <a:t>Microsoft Defender has its own portal, through which you can monitor and respond to suspicious activity. The portal allows you to create your Microsoft Defender instance, and view the data received from Microsoft Defender sensors.</a:t>
            </a:r>
          </a:p>
          <a:p>
            <a:pPr marL="212982" lvl="1" indent="0">
              <a:buFont typeface="Arial" panose="020B0604020202020204" pitchFamily="34" charset="0"/>
              <a:buNone/>
            </a:pPr>
            <a:r>
              <a:rPr lang="en-IE" sz="882" b="0" i="0" u="none" strike="noStrike" kern="1200" dirty="0">
                <a:solidFill>
                  <a:schemeClr val="tx1"/>
                </a:solidFill>
                <a:effectLst/>
                <a:latin typeface="Segoe UI Light" pitchFamily="34" charset="0"/>
                <a:ea typeface="+mn-ea"/>
                <a:cs typeface="+mn-cs"/>
              </a:rPr>
              <a:t>You can also use the portal to monitor, manage, and investigate threats in your network environment. You sign in to the Microsoft Defender portal at </a:t>
            </a:r>
            <a:r>
              <a:rPr lang="en-IE" sz="882" b="0" i="0" u="none" strike="noStrike" kern="1200" dirty="0">
                <a:solidFill>
                  <a:schemeClr val="tx1"/>
                </a:solidFill>
                <a:effectLst/>
                <a:latin typeface="Segoe UI Light" pitchFamily="34" charset="0"/>
                <a:ea typeface="+mn-ea"/>
                <a:cs typeface="+mn-cs"/>
                <a:hlinkClick r:id="rId3"/>
              </a:rPr>
              <a:t>https://portal.atp.azure.com</a:t>
            </a:r>
            <a:r>
              <a:rPr lang="en-IE" sz="882" b="0" i="0" u="none" strike="noStrike" kern="1200" dirty="0">
                <a:solidFill>
                  <a:schemeClr val="tx1"/>
                </a:solidFill>
                <a:effectLst/>
                <a:latin typeface="Segoe UI Light" pitchFamily="34" charset="0"/>
                <a:ea typeface="+mn-ea"/>
                <a:cs typeface="+mn-cs"/>
              </a:rPr>
              <a:t>. However, note that you must sign in with a user account that is assigned to an Azure AD security group that has access to the Microsoft Defender portal.</a:t>
            </a:r>
          </a:p>
          <a:p>
            <a:pPr marL="171450" indent="-171450">
              <a:buFont typeface="Arial" panose="020B0604020202020204" pitchFamily="34" charset="0"/>
              <a:buChar char="•"/>
            </a:pPr>
            <a:r>
              <a:rPr lang="en-IE" sz="882" b="1" i="0" u="none" strike="noStrike" kern="1200" dirty="0">
                <a:solidFill>
                  <a:schemeClr val="tx1"/>
                </a:solidFill>
                <a:effectLst/>
                <a:latin typeface="Segoe UI Light" pitchFamily="34" charset="0"/>
                <a:ea typeface="+mn-ea"/>
                <a:cs typeface="+mn-cs"/>
              </a:rPr>
              <a:t>Microsoft Defender sensor</a:t>
            </a:r>
            <a:r>
              <a:rPr lang="en-IE" sz="882" b="0" i="0" u="none" strike="noStrike" kern="1200" dirty="0">
                <a:solidFill>
                  <a:schemeClr val="tx1"/>
                </a:solidFill>
                <a:effectLst/>
                <a:latin typeface="Segoe UI Light" pitchFamily="34" charset="0"/>
                <a:ea typeface="+mn-ea"/>
                <a:cs typeface="+mn-cs"/>
              </a:rPr>
              <a:t>. Microsoft Defender sensors are installed directly on your domain controllers. The sensor monitors domain controller traffic without requiring a dedicated server or configured port mirroring.</a:t>
            </a:r>
          </a:p>
          <a:p>
            <a:pPr marL="171450" indent="-171450">
              <a:buFont typeface="Arial" panose="020B0604020202020204" pitchFamily="34" charset="0"/>
              <a:buChar char="•"/>
            </a:pPr>
            <a:r>
              <a:rPr lang="en-IE" sz="882" b="1" i="0" u="none" strike="noStrike" kern="1200" dirty="0">
                <a:solidFill>
                  <a:schemeClr val="tx1"/>
                </a:solidFill>
                <a:effectLst/>
                <a:latin typeface="Segoe UI Light" pitchFamily="34" charset="0"/>
                <a:ea typeface="+mn-ea"/>
                <a:cs typeface="+mn-cs"/>
              </a:rPr>
              <a:t>Microsoft Defender cloud service. </a:t>
            </a:r>
            <a:r>
              <a:rPr lang="en-IE" sz="882" b="0" i="0" u="none" strike="noStrike" kern="1200" dirty="0">
                <a:solidFill>
                  <a:schemeClr val="tx1"/>
                </a:solidFill>
                <a:effectLst/>
                <a:latin typeface="Segoe UI Light" pitchFamily="34" charset="0"/>
                <a:ea typeface="+mn-ea"/>
                <a:cs typeface="+mn-cs"/>
              </a:rPr>
              <a:t>Microsoft Defender cloud service runs on the Azure infrastructure, and is currently deployed in the United States, Europe, and Asia. The cloud service is connected to Microsoft Intelligent Security Graph</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3145407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8629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000000"/>
                </a:solidFill>
                <a:effectLst/>
                <a:latin typeface="Consolas" panose="020B0609020204030204" pitchFamily="49" charset="0"/>
              </a:rPr>
              <a:t>The labs are updated on a regular basis. For the latest information please visit: </a:t>
            </a:r>
          </a:p>
          <a:p>
            <a:r>
              <a:rPr lang="en-US" b="0" dirty="0">
                <a:solidFill>
                  <a:srgbClr val="000000"/>
                </a:solidFill>
                <a:effectLst/>
                <a:latin typeface="Consolas" panose="020B0609020204030204" pitchFamily="49" charset="0"/>
              </a:rPr>
              <a:t>    </a:t>
            </a:r>
          </a:p>
          <a:p>
            <a:r>
              <a:rPr lang="en-US" b="0" dirty="0">
                <a:solidFill>
                  <a:srgbClr val="A31515"/>
                </a:solidFill>
                <a:effectLst/>
                <a:latin typeface="Consolas" panose="020B0609020204030204" pitchFamily="49" charset="0"/>
              </a:rPr>
              <a:t>https://microsoftlearning.github.io/AZ400-DesigningandImplementingMicrosoftDevOpsSolutions/</a:t>
            </a:r>
            <a:endParaRPr lang="en-US" b="0" dirty="0">
              <a:solidFill>
                <a:srgbClr val="000000"/>
              </a:solidFill>
              <a:effectLst/>
              <a:latin typeface="Consolas" panose="020B0609020204030204" pitchFamily="49" charset="0"/>
            </a:endParaRP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2/7/2022 3:2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935227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03959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000000"/>
                </a:solidFill>
                <a:effectLst/>
                <a:latin typeface="Consolas" panose="020B0609020204030204" pitchFamily="49" charset="0"/>
              </a:rPr>
              <a:t>The labs are updated on a regular basis. For the latest information please visit: </a:t>
            </a:r>
          </a:p>
          <a:p>
            <a:r>
              <a:rPr lang="en-US" b="0" dirty="0">
                <a:solidFill>
                  <a:srgbClr val="000000"/>
                </a:solidFill>
                <a:effectLst/>
                <a:latin typeface="Consolas" panose="020B0609020204030204" pitchFamily="49" charset="0"/>
              </a:rPr>
              <a:t>    </a:t>
            </a:r>
          </a:p>
          <a:p>
            <a:r>
              <a:rPr lang="en-US" b="0" dirty="0">
                <a:solidFill>
                  <a:srgbClr val="A31515"/>
                </a:solidFill>
                <a:effectLst/>
                <a:latin typeface="Consolas" panose="020B0609020204030204" pitchFamily="49" charset="0"/>
              </a:rPr>
              <a:t>https://microsoftlearning.github.io/AZ400-DesigningandImplementingMicrosoftDevOpsSolutions/</a:t>
            </a:r>
            <a:endParaRPr lang="en-US" b="0" dirty="0">
              <a:solidFill>
                <a:srgbClr val="000000"/>
              </a:solidFill>
              <a:effectLst/>
              <a:latin typeface="Consolas" panose="020B0609020204030204" pitchFamily="49" charset="0"/>
            </a:endParaRP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2/7/2022 3:2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39352273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06967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Q1 Answer</a:t>
            </a:r>
            <a:r>
              <a:rPr lang="en-US" dirty="0"/>
              <a:t>: </a:t>
            </a:r>
            <a:r>
              <a:rPr lang="en-US" b="0" i="0" u="none" strike="noStrike" dirty="0">
                <a:effectLst/>
                <a:latin typeface="Segoe UI" panose="020B0502040204020203" pitchFamily="34" charset="0"/>
              </a:rPr>
              <a:t>DevOps and Security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1" i="0" kern="1200" dirty="0">
                <a:solidFill>
                  <a:schemeClr val="tx1"/>
                </a:solidFill>
                <a:effectLst/>
                <a:latin typeface="Segoe UI Light" pitchFamily="34" charset="0"/>
                <a:ea typeface="+mn-ea"/>
                <a:cs typeface="+mn-cs"/>
              </a:rPr>
              <a:t>Q2 Answer</a:t>
            </a:r>
            <a:r>
              <a:rPr lang="en-US" sz="882" b="0" i="0" kern="1200" dirty="0">
                <a:solidFill>
                  <a:schemeClr val="tx1"/>
                </a:solidFill>
                <a:effectLst/>
                <a:latin typeface="Segoe UI Light" pitchFamily="34" charset="0"/>
                <a:ea typeface="+mn-ea"/>
                <a:cs typeface="+mn-cs"/>
              </a:rPr>
              <a:t>: </a:t>
            </a:r>
            <a:r>
              <a:rPr lang="en-US" b="0" i="0" u="none" strike="noStrike" dirty="0">
                <a:effectLst/>
                <a:latin typeface="Segoe UI" panose="020B0502040204020203" pitchFamily="34" charset="0"/>
              </a:rPr>
              <a:t>Securing the pipeline</a:t>
            </a:r>
            <a:endParaRPr lang="en-US" sz="882" b="0" i="0" kern="1200" dirty="0">
              <a:solidFill>
                <a:schemeClr val="tx1"/>
              </a:solidFill>
              <a:effectLst/>
              <a:latin typeface="Segoe UI Light" pitchFamily="34" charset="0"/>
              <a:ea typeface="+mn-ea"/>
              <a:cs typeface="+mn-cs"/>
            </a:endParaRPr>
          </a:p>
          <a:p>
            <a:pPr algn="l"/>
            <a:r>
              <a:rPr lang="en-US" b="0" i="0" u="none" strike="noStrike" dirty="0">
                <a:effectLst/>
                <a:latin typeface="&amp;quot"/>
              </a:rPr>
              <a:t>With Secure DevOps, security is more about securing the pipeline, determining where you can add security to the elements that plug into your build and release pipeline. For example, it's about how and where you can add security to you automation practices, production environments, and other pipeline elements while attempt to gain the speed of DevOps.</a:t>
            </a:r>
          </a:p>
          <a:p>
            <a:pPr algn="l"/>
            <a:r>
              <a:rPr lang="en-US" b="0" i="0" u="none" strike="noStrike">
                <a:effectLst/>
                <a:latin typeface="&amp;quot"/>
              </a:rPr>
              <a:t>Secure </a:t>
            </a:r>
            <a:r>
              <a:rPr lang="en-US" b="0" i="0" u="none" strike="noStrike" dirty="0">
                <a:effectLst/>
                <a:latin typeface="&amp;quot"/>
              </a:rPr>
              <a:t>DevOps includes bigger questions such as: Is my pipeline consuming third-party components, and if so, are they secure? Are there known vulnerabilities within any of the third-party software we use? How quickly can I detect vulnerabilities (time to detect)? How quickly can I remediate identified vulnerabilities (time to remediate)? </a:t>
            </a:r>
          </a:p>
          <a:p>
            <a:pPr algn="l"/>
            <a:r>
              <a:rPr lang="en-US" b="1" i="0" u="none" strike="noStrike" dirty="0">
                <a:effectLst/>
                <a:latin typeface="&amp;quot"/>
              </a:rPr>
              <a:t>Q3 Answer</a:t>
            </a:r>
            <a:r>
              <a:rPr lang="en-US" b="0" i="0" u="none" strike="noStrike" dirty="0">
                <a:effectLst/>
                <a:latin typeface="&amp;quot"/>
              </a:rPr>
              <a:t>: Azure Artifacts</a:t>
            </a:r>
          </a:p>
          <a:p>
            <a:pPr algn="l"/>
            <a:r>
              <a:rPr lang="en-US" b="1" i="0" u="none" strike="noStrike" dirty="0">
                <a:effectLst/>
                <a:latin typeface="Segoe UI" panose="020B0502040204020203" pitchFamily="34" charset="0"/>
              </a:rPr>
              <a:t>Q4 Answer</a:t>
            </a:r>
            <a:r>
              <a:rPr lang="en-US" b="0" i="0" u="none" strike="noStrike" dirty="0">
                <a:effectLst/>
                <a:latin typeface="Segoe UI" panose="020B0502040204020203" pitchFamily="34" charset="0"/>
              </a:rPr>
              <a:t>: Analyzing open-source software (OSS) to identify potential security vulnerabilities and provide validation that the software meets a defined criteria to use in your pipeline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Q5 Answer</a:t>
            </a:r>
            <a:r>
              <a:rPr lang="en-US" dirty="0"/>
              <a:t>: </a:t>
            </a:r>
            <a:r>
              <a:rPr lang="en-US" b="0" i="0" u="none" strike="noStrike" dirty="0">
                <a:effectLst/>
                <a:latin typeface="Segoe UI" panose="020B0502040204020203" pitchFamily="34" charset="0"/>
              </a:rPr>
              <a:t>Azure DevOps Marketplace</a:t>
            </a:r>
          </a:p>
          <a:p>
            <a:pPr algn="l"/>
            <a:endParaRPr lang="en-US" b="1"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40920605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dirty="0">
                <a:solidFill>
                  <a:schemeClr val="tx1"/>
                </a:solidFill>
                <a:effectLst/>
                <a:latin typeface="Segoe UI Light" pitchFamily="34" charset="0"/>
                <a:ea typeface="+mn-ea"/>
                <a:cs typeface="+mn-cs"/>
              </a:rPr>
              <a:t>Q6 Answer</a:t>
            </a:r>
            <a:r>
              <a:rPr lang="en-US" sz="882" b="0" i="0" kern="1200" dirty="0">
                <a:solidFill>
                  <a:schemeClr val="tx1"/>
                </a:solidFill>
                <a:effectLst/>
                <a:latin typeface="Segoe UI Light" pitchFamily="34" charset="0"/>
                <a:ea typeface="+mn-ea"/>
                <a:cs typeface="+mn-cs"/>
              </a:rPr>
              <a:t>: Mend</a:t>
            </a:r>
          </a:p>
          <a:p>
            <a:r>
              <a:rPr lang="en-US" b="1" i="0" u="none" strike="noStrike" dirty="0">
                <a:effectLst/>
                <a:latin typeface="&amp;quot"/>
              </a:rPr>
              <a:t>Q7Answer</a:t>
            </a:r>
            <a:r>
              <a:rPr lang="en-US" b="0" i="0" u="none" strike="noStrike" dirty="0">
                <a:effectLst/>
                <a:latin typeface="&amp;quot"/>
              </a:rPr>
              <a:t>: Microsoft Defender for Cloud</a:t>
            </a:r>
          </a:p>
          <a:p>
            <a:pPr algn="l"/>
            <a:r>
              <a:rPr lang="en-US" b="1" i="0" u="none" strike="noStrike" dirty="0">
                <a:effectLst/>
                <a:latin typeface="&amp;quot"/>
              </a:rPr>
              <a:t>Q8 Answer</a:t>
            </a:r>
            <a:r>
              <a:rPr lang="en-US" b="0" i="0" u="none" strike="noStrike" dirty="0">
                <a:effectLst/>
                <a:latin typeface="&amp;quot"/>
              </a:rPr>
              <a:t>: </a:t>
            </a:r>
            <a:r>
              <a:rPr lang="en-US" b="0" i="0" u="none" strike="noStrike" dirty="0">
                <a:effectLst/>
                <a:latin typeface="Segoe UI" panose="020B0502040204020203" pitchFamily="34" charset="0"/>
              </a:rPr>
              <a:t>Azure Policy</a:t>
            </a:r>
          </a:p>
          <a:p>
            <a:pPr algn="l"/>
            <a:r>
              <a:rPr lang="en-US" b="0" i="0" u="none" strike="noStrike" dirty="0">
                <a:effectLst/>
                <a:latin typeface="Segoe UI" panose="020B0502040204020203" pitchFamily="34" charset="0"/>
              </a:rPr>
              <a:t>Azure Policy is a service in Azure that you use to create, assign, and, manage policies. These policies enforce different rules and effects over your resources, which ensures they stay compliant with your corporate standards and service-level agreements (SLAs). A policy definition expresses what to evaluate and what action to take. For example, you could prevent VMs from deploying if they are exposed to a public IP address. You also could prevent a particular hard disk from being used when deploying VMs to control cost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1" i="0" u="none" strike="noStrike" dirty="0">
                <a:effectLst/>
                <a:latin typeface="Segoe UI" panose="020B0502040204020203" pitchFamily="34" charset="0"/>
              </a:rPr>
              <a:t>Q9 Answer</a:t>
            </a:r>
            <a:r>
              <a:rPr lang="en-US" b="0" i="0" u="none" strike="noStrike" dirty="0">
                <a:effectLst/>
                <a:latin typeface="Segoe UI" panose="020B0502040204020203" pitchFamily="34" charset="0"/>
              </a:rPr>
              <a:t>: Locks</a:t>
            </a:r>
            <a:endParaRPr lang="en-US" b="1" dirty="0"/>
          </a:p>
          <a:p>
            <a:pPr algn="l"/>
            <a:r>
              <a:rPr lang="en-US" b="0" i="0" u="none" strike="noStrike" dirty="0">
                <a:effectLst/>
                <a:latin typeface="Segoe UI" panose="020B0502040204020203" pitchFamily="34" charset="0"/>
              </a:rPr>
              <a:t>Locks help you prevent accidental deletion or modification of your Azure resources. You can manage these locks from within the Azure portal. To view, add, or delete locks, go to the SETTINGS section of any resource's settings blade. You may need to lock a subscription, resource group, or resource to prevent other users in your organization from accidentally deleting or modifying critical resources. You can set the lock level to </a:t>
            </a:r>
            <a:r>
              <a:rPr lang="en-US" b="0" i="0" u="none" strike="noStrike" dirty="0" err="1">
                <a:effectLst/>
                <a:latin typeface="Segoe UI" panose="020B0502040204020203" pitchFamily="34" charset="0"/>
              </a:rPr>
              <a:t>CanNotDelete</a:t>
            </a:r>
            <a:r>
              <a:rPr lang="en-US" b="0" i="0" u="none" strike="noStrike" dirty="0">
                <a:effectLst/>
                <a:latin typeface="Segoe UI" panose="020B0502040204020203" pitchFamily="34" charset="0"/>
              </a:rPr>
              <a:t> or </a:t>
            </a:r>
            <a:r>
              <a:rPr lang="en-US" b="0" i="0" u="none" strike="noStrike" dirty="0" err="1">
                <a:effectLst/>
                <a:latin typeface="Segoe UI" panose="020B0502040204020203" pitchFamily="34" charset="0"/>
              </a:rPr>
              <a:t>ReadOnly</a:t>
            </a:r>
            <a:r>
              <a:rPr lang="en-US" b="0" i="0" u="none" strike="noStrike" dirty="0">
                <a:effectLst/>
                <a:latin typeface="Segoe UI" panose="020B0502040204020203" pitchFamily="34" charset="0"/>
              </a:rPr>
              <a:t>.</a:t>
            </a:r>
            <a:endParaRPr lang="en-US" b="1"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40920605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Q10 Answer</a:t>
            </a:r>
            <a:r>
              <a:rPr lang="en-US" dirty="0"/>
              <a:t>: </a:t>
            </a:r>
            <a:r>
              <a:rPr lang="en-US" b="0" i="0" u="none" strike="noStrike" dirty="0">
                <a:effectLst/>
                <a:latin typeface="Segoe UI" panose="020B0502040204020203" pitchFamily="34" charset="0"/>
              </a:rPr>
              <a:t>Bugs, security vulnerabilities, and licensing issues </a:t>
            </a:r>
          </a:p>
          <a:p>
            <a:r>
              <a:rPr lang="en-US" b="1" dirty="0"/>
              <a:t>Q11 Answer: </a:t>
            </a:r>
            <a:r>
              <a:rPr lang="en-US" b="0" i="0" u="none" strike="noStrike" dirty="0">
                <a:effectLst/>
                <a:latin typeface="Segoe UI" panose="020B0502040204020203" pitchFamily="34" charset="0"/>
              </a:rPr>
              <a:t>Each library has usage restrictions as part of the licensing. These restrictions might not be compatible with your intended application use. </a:t>
            </a:r>
          </a:p>
          <a:p>
            <a:r>
              <a:rPr lang="en-US" sz="1200" b="1" i="0" u="none" strike="noStrike" kern="1200" dirty="0">
                <a:solidFill>
                  <a:schemeClr val="tx1"/>
                </a:solidFill>
                <a:effectLst/>
                <a:latin typeface="+mn-lt"/>
                <a:ea typeface="+mn-ea"/>
                <a:cs typeface="+mn-cs"/>
              </a:rPr>
              <a:t>Q12 Answer</a:t>
            </a:r>
            <a:r>
              <a:rPr lang="en-US" sz="1200" b="0" i="0" u="none" strike="noStrike" kern="1200" dirty="0">
                <a:solidFill>
                  <a:schemeClr val="tx1"/>
                </a:solidFill>
                <a:effectLst/>
                <a:latin typeface="+mn-lt"/>
                <a:ea typeface="+mn-ea"/>
                <a:cs typeface="+mn-cs"/>
              </a:rPr>
              <a:t>: </a:t>
            </a:r>
            <a:r>
              <a:rPr lang="en-US" b="0" i="0" u="none" strike="noStrike" dirty="0">
                <a:effectLst/>
                <a:latin typeface="Segoe UI" panose="020B0502040204020203" pitchFamily="34" charset="0"/>
              </a:rPr>
              <a:t>A type of software where users of code are permitted to study, change, and distribute the software. The open-source license type can limit the actions (such as sale provisions) that can be taken. </a:t>
            </a:r>
          </a:p>
          <a:p>
            <a:endParaRPr lang="en-US" b="0" dirty="0"/>
          </a:p>
        </p:txBody>
      </p:sp>
      <p:sp>
        <p:nvSpPr>
          <p:cNvPr id="4" name="Slide Number Placeholder 3"/>
          <p:cNvSpPr>
            <a:spLocks noGrp="1"/>
          </p:cNvSpPr>
          <p:nvPr>
            <p:ph type="sldNum" sz="quarter" idx="5"/>
          </p:nvPr>
        </p:nvSpPr>
        <p:spPr/>
        <p:txBody>
          <a:bodyPr/>
          <a:lstStyle/>
          <a:p>
            <a:fld id="{E1234E77-A9B7-4E08-94CE-2EBEF68CD23B}" type="slidenum">
              <a:rPr lang="en-US" smtClean="0"/>
              <a:t>54</a:t>
            </a:fld>
            <a:endParaRPr lang="en-US"/>
          </a:p>
        </p:txBody>
      </p:sp>
    </p:spTree>
    <p:extLst>
      <p:ext uri="{BB962C8B-B14F-4D97-AF65-F5344CB8AC3E}">
        <p14:creationId xmlns:p14="http://schemas.microsoft.com/office/powerpoint/2010/main" val="3255155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Secure DevOps includes bigger questions such as:</a:t>
            </a:r>
          </a:p>
          <a:p>
            <a:r>
              <a:rPr lang="en-US" sz="882" b="0" i="0" u="none" strike="noStrike" kern="1200" dirty="0">
                <a:solidFill>
                  <a:schemeClr val="tx1"/>
                </a:solidFill>
                <a:effectLst/>
                <a:latin typeface="Segoe UI Light" pitchFamily="34" charset="0"/>
                <a:ea typeface="+mn-ea"/>
                <a:cs typeface="+mn-cs"/>
              </a:rPr>
              <a:t>Is my pipeline consuming third-party components, and if so, are they secure?</a:t>
            </a:r>
          </a:p>
          <a:p>
            <a:r>
              <a:rPr lang="en-US" sz="882" b="0" i="0" u="none" strike="noStrike" kern="1200" dirty="0">
                <a:solidFill>
                  <a:schemeClr val="tx1"/>
                </a:solidFill>
                <a:effectLst/>
                <a:latin typeface="Segoe UI Light" pitchFamily="34" charset="0"/>
                <a:ea typeface="+mn-ea"/>
                <a:cs typeface="+mn-cs"/>
              </a:rPr>
              <a:t>Are there known vulnerabilities within any of the third-party software we use?</a:t>
            </a:r>
          </a:p>
          <a:p>
            <a:r>
              <a:rPr lang="en-US" sz="882" b="0" i="0" u="none" strike="noStrike" kern="1200" dirty="0">
                <a:solidFill>
                  <a:schemeClr val="tx1"/>
                </a:solidFill>
                <a:effectLst/>
                <a:latin typeface="Segoe UI Light" pitchFamily="34" charset="0"/>
                <a:ea typeface="+mn-ea"/>
                <a:cs typeface="+mn-cs"/>
              </a:rPr>
              <a:t>How quickly can I detect vulnerabilities (</a:t>
            </a:r>
            <a:r>
              <a:rPr lang="en-US" sz="882" b="0" i="1" u="none" strike="noStrike" kern="1200" dirty="0">
                <a:solidFill>
                  <a:schemeClr val="tx1"/>
                </a:solidFill>
                <a:effectLst/>
                <a:latin typeface="Segoe UI Light" pitchFamily="34" charset="0"/>
                <a:ea typeface="+mn-ea"/>
                <a:cs typeface="+mn-cs"/>
              </a:rPr>
              <a:t>time to detect</a:t>
            </a:r>
            <a:r>
              <a:rPr lang="en-US" sz="882" b="0" i="0" u="none" strike="noStrike" kern="1200" dirty="0">
                <a:solidFill>
                  <a:schemeClr val="tx1"/>
                </a:solidFill>
                <a:effectLst/>
                <a:latin typeface="Segoe UI Light" pitchFamily="34" charset="0"/>
                <a:ea typeface="+mn-ea"/>
                <a:cs typeface="+mn-cs"/>
              </a:rPr>
              <a:t>)?</a:t>
            </a:r>
          </a:p>
          <a:p>
            <a:r>
              <a:rPr lang="en-US" sz="882" b="0" i="0" u="none" strike="noStrike" kern="1200" dirty="0">
                <a:solidFill>
                  <a:schemeClr val="tx1"/>
                </a:solidFill>
                <a:effectLst/>
                <a:latin typeface="Segoe UI Light" pitchFamily="34" charset="0"/>
                <a:ea typeface="+mn-ea"/>
                <a:cs typeface="+mn-cs"/>
              </a:rPr>
              <a:t>How quickly can I remediate identified vulnerabilities (</a:t>
            </a:r>
            <a:r>
              <a:rPr lang="en-US" sz="882" b="0" i="1" u="none" strike="noStrike" kern="1200" dirty="0">
                <a:solidFill>
                  <a:schemeClr val="tx1"/>
                </a:solidFill>
                <a:effectLst/>
                <a:latin typeface="Segoe UI Light" pitchFamily="34" charset="0"/>
                <a:ea typeface="+mn-ea"/>
                <a:cs typeface="+mn-cs"/>
              </a:rPr>
              <a:t>time to remediate</a:t>
            </a:r>
            <a:r>
              <a:rPr lang="en-US" sz="882" b="0" i="0" u="none" strike="noStrike" kern="1200" dirty="0">
                <a:solidFill>
                  <a:schemeClr val="tx1"/>
                </a:solidFill>
                <a:effectLst/>
                <a:latin typeface="Segoe UI Light" pitchFamily="34" charset="0"/>
                <a:ea typeface="+mn-ea"/>
                <a:cs typeface="+mn-cs"/>
              </a:rPr>
              <a:t>)?</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7/2022 3: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359966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rPr>
              <a:t>There are two important areas in the pipeline that are part of </a:t>
            </a:r>
            <a:r>
              <a:rPr lang="en-US" sz="882" b="0" i="1" u="none" strike="noStrike" kern="1200" dirty="0">
                <a:solidFill>
                  <a:schemeClr val="tx1"/>
                </a:solidFill>
                <a:effectLst/>
                <a:latin typeface="Segoe UI Light" pitchFamily="34" charset="0"/>
                <a:ea typeface="+mn-ea"/>
                <a:cs typeface="+mn-cs"/>
              </a:rPr>
              <a:t>Secure DevOps</a:t>
            </a:r>
            <a:r>
              <a:rPr lang="en-US" sz="882" b="0" i="0" u="none" strike="noStrike" kern="1200" dirty="0">
                <a:solidFill>
                  <a:schemeClr val="tx1"/>
                </a:solidFill>
                <a:effectLst/>
                <a:latin typeface="Segoe UI Light" pitchFamily="34" charset="0"/>
                <a:ea typeface="+mn-ea"/>
                <a:cs typeface="+mn-cs"/>
              </a:rPr>
              <a:t> and not other DevOps pipelines. Notice these two areas are in different parts of the pipeline.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7/2022 3:2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3641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Discuss open-source and how we support it in Azure, GitHub and Azure DevOp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https://azure.microsoft.com/en-us/overview/open-sour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u="sng" dirty="0">
              <a:solidFill>
                <a:srgbClr val="000000"/>
              </a:solidFill>
              <a:hlinkClick r:id="rId3"/>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u="sng" dirty="0">
                <a:solidFill>
                  <a:srgbClr val="000000"/>
                </a:solidFill>
                <a:hlinkClick r:id="rId3"/>
              </a:rPr>
              <a:t>https://en.wikipedia.org/wiki/Open-source_software</a:t>
            </a:r>
            <a:r>
              <a:rPr lang="en-US" sz="900" u="sng" dirty="0">
                <a:solidFill>
                  <a:srgbClr val="000000"/>
                </a:solidFill>
              </a:rPr>
              <a:t> </a:t>
            </a:r>
            <a:endParaRPr lang="en-US" sz="900" dirty="0">
              <a:solidFill>
                <a:srgbClr val="000000"/>
              </a:soli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059849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it clear that OSS is like all code. It </a:t>
            </a:r>
            <a:r>
              <a:rPr lang="en-US" b="1" dirty="0"/>
              <a:t>could</a:t>
            </a:r>
            <a:r>
              <a:rPr lang="en-US" dirty="0"/>
              <a:t> potentially have issues, but with active community support, it tends to resolve faster than others. </a:t>
            </a:r>
            <a:r>
              <a:rPr lang="en-US" b="0" i="0" dirty="0">
                <a:effectLst/>
                <a:latin typeface="-apple-system"/>
              </a:rPr>
              <a:t>You can emphasize both the benefits and challenges. It provides potential and capabilities. We need to make the DevOps teams aware about the challenges and know the potential risks. </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153056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750620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619146B-24F9-441E-A368-DB3B5A84C1D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7/2022 3: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4658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p:nvPr>
        </p:nvSpPr>
        <p:spPr>
          <a:xfrm>
            <a:off x="437277" y="2582862"/>
            <a:ext cx="5537797" cy="1828800"/>
          </a:xfrm>
          <a:prstGeom prst="rect">
            <a:avLst/>
          </a:prstGeom>
          <a:noFill/>
        </p:spPr>
        <p:txBody>
          <a:bodyPr lIns="0" tIns="0" rIns="0" bIns="182880" anchor="b" anchorCtr="0"/>
          <a:lstStyle>
            <a:lvl1pPr>
              <a:defRPr sz="4800" strike="noStrike" spc="-50" baseline="0">
                <a:solidFill>
                  <a:srgbClr val="000000"/>
                </a:solidFill>
              </a:defRPr>
            </a:lvl1pPr>
          </a:lstStyle>
          <a:p>
            <a:endParaRPr lang="en-US"/>
          </a:p>
        </p:txBody>
      </p:sp>
      <p:pic>
        <p:nvPicPr>
          <p:cNvPr id="11" name="Picture 10" descr="Microsoft Azure logo">
            <a:extLst>
              <a:ext uri="{FF2B5EF4-FFF2-40B4-BE49-F238E27FC236}">
                <a16:creationId xmlns:a16="http://schemas.microsoft.com/office/drawing/2014/main" id="{AFDC29EE-BDE7-4363-B0FC-728521A3666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63276" y="448056"/>
            <a:ext cx="1362456" cy="192347"/>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446550"/>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7304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600200" y="1485899"/>
            <a:ext cx="10409238" cy="91440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40754" y="3040062"/>
            <a:ext cx="11568684" cy="547870"/>
          </a:xfrm>
        </p:spPr>
        <p:txBody>
          <a:bodyPr wrap="square" lIns="0" tIns="0" rIns="0" bIns="0" anchor="t">
            <a:noAutofit/>
          </a:bodyPr>
          <a:lstStyle>
            <a:lvl1pPr marL="0" indent="0">
              <a:lnSpc>
                <a:spcPts val="1800"/>
              </a:lnSpc>
              <a:spcBef>
                <a:spcPts val="900"/>
              </a:spcBef>
              <a:buNone/>
              <a:defRPr lang="en-US" sz="1599" b="0" kern="1200" spc="0" baseline="0" dirty="0">
                <a:solidFill>
                  <a:schemeClr val="tx1"/>
                </a:solidFill>
                <a:latin typeface="+mn-lt"/>
                <a:ea typeface="+mn-ea"/>
                <a:cs typeface="+mn-cs"/>
              </a:defRPr>
            </a:lvl1pPr>
            <a:lvl2pPr marL="0" marR="0" indent="0" algn="l" defTabSz="932563" rtl="0" eaLnBrk="1" fontAlgn="auto" latinLnBrk="0" hangingPunct="1">
              <a:lnSpc>
                <a:spcPct val="100000"/>
              </a:lnSpc>
              <a:spcBef>
                <a:spcPts val="612"/>
              </a:spcBef>
              <a:spcAft>
                <a:spcPts val="0"/>
              </a:spcAft>
              <a:buClrTx/>
              <a:buSzPct val="90000"/>
              <a:buFont typeface="Arial" panose="020B0604020202020204" pitchFamily="34" charset="0"/>
              <a:buNone/>
              <a:tabLst/>
              <a:defRPr sz="2448" b="0">
                <a:solidFill>
                  <a:schemeClr val="tx1"/>
                </a:solidFill>
                <a:latin typeface="+mj-lt"/>
              </a:defRPr>
            </a:lvl2pPr>
            <a:lvl3pPr marL="457112" indent="0">
              <a:buNone/>
              <a:defRPr/>
            </a:lvl3pPr>
            <a:lvl4pPr marL="685669" indent="0">
              <a:buNone/>
              <a:defRPr/>
            </a:lvl4pPr>
            <a:lvl5pPr marL="914224" indent="0">
              <a:buNone/>
              <a:defRPr/>
            </a:lvl5pPr>
          </a:lstStyle>
          <a:p>
            <a:pPr marL="0" marR="0" lvl="1" indent="0" algn="l" defTabSz="932563" rtl="0" eaLnBrk="1" fontAlgn="auto" latinLnBrk="0" hangingPunct="1">
              <a:lnSpc>
                <a:spcPct val="100000"/>
              </a:lnSpc>
              <a:spcBef>
                <a:spcPts val="400"/>
              </a:spcBef>
              <a:spcAft>
                <a:spcPts val="600"/>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40755" y="3587932"/>
            <a:ext cx="5544766" cy="2046546"/>
          </a:xfrm>
          <a:ln w="19050">
            <a:solidFill>
              <a:schemeClr val="tx2"/>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464672" y="3587932"/>
            <a:ext cx="5544766" cy="2046546"/>
          </a:xfrm>
          <a:ln w="19050">
            <a:solidFill>
              <a:schemeClr val="tx2"/>
            </a:solidFill>
          </a:ln>
        </p:spPr>
        <p:txBody>
          <a:bodyPr lIns="182880" tIns="137160" rIns="182880">
            <a:noAutofit/>
          </a:bodyPr>
          <a:lstStyle>
            <a:lvl1pPr>
              <a:defRPr sz="2040">
                <a:solidFill>
                  <a:schemeClr val="tx1"/>
                </a:solidFill>
              </a:defRPr>
            </a:lvl1pPr>
            <a:lvl2pPr>
              <a:defRPr sz="1836">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119583" y="6680282"/>
            <a:ext cx="4197310" cy="14406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sz="918" dirty="0"/>
              <a:t>© Copyright Microsoft Corporation. All rights reserved.</a:t>
            </a:r>
          </a:p>
        </p:txBody>
      </p:sp>
    </p:spTree>
    <p:extLst>
      <p:ext uri="{BB962C8B-B14F-4D97-AF65-F5344CB8AC3E}">
        <p14:creationId xmlns:p14="http://schemas.microsoft.com/office/powerpoint/2010/main" val="216716836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9515"/>
            <a:ext cx="7832726" cy="553998"/>
          </a:xfrm>
          <a:prstGeom prst="rect">
            <a:avLst/>
          </a:prstGeom>
        </p:spPr>
        <p:txBody>
          <a:bodyPr anchor="ctr" anchorCtr="0"/>
          <a:lstStyle>
            <a:lvl1pPr algn="ctr">
              <a:defRPr>
                <a:solidFill>
                  <a:srgbClr val="000000"/>
                </a:solidFill>
              </a:defRPr>
            </a:lvl1pPr>
          </a:lstStyle>
          <a:p>
            <a:r>
              <a:rPr lang="en-US"/>
              <a:t>Click icon to add picture</a:t>
            </a:r>
          </a:p>
        </p:txBody>
      </p:sp>
    </p:spTree>
    <p:extLst>
      <p:ext uri="{BB962C8B-B14F-4D97-AF65-F5344CB8AC3E}">
        <p14:creationId xmlns:p14="http://schemas.microsoft.com/office/powerpoint/2010/main" val="181307540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038" y="632779"/>
            <a:ext cx="11571287" cy="411162"/>
          </a:xfrm>
          <a:prstGeom prst="rect">
            <a:avLst/>
          </a:prstGeom>
        </p:spPr>
        <p:txBody>
          <a:bodyPr wrap="square" lIns="0" tIns="0" rIns="0" bIns="0">
            <a:spAutoFit/>
          </a:bodyPr>
          <a:lstStyle>
            <a:lvl1pPr>
              <a:lnSpc>
                <a:spcPts val="3200"/>
              </a:lnSpc>
              <a:defRPr sz="2800" strike="noStrike" spc="0">
                <a:solidFill>
                  <a:srgbClr val="000000"/>
                </a:solidFill>
              </a:defRPr>
            </a:lvl1pPr>
          </a:lstStyle>
          <a:p>
            <a:r>
              <a:rPr lang="en-US" dirty="0"/>
              <a:t>Title</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3292078"/>
            <a:ext cx="2506662" cy="410369"/>
          </a:xfrm>
          <a:prstGeom prst="rect">
            <a:avLst/>
          </a:prstGeom>
        </p:spPr>
        <p:txBody>
          <a:bodyPr wrap="square" lIns="0" tIns="0" rIns="0" bIns="0" anchor="ctr">
            <a:spAutoFit/>
          </a:bodyPr>
          <a:lstStyle>
            <a:lvl1pPr>
              <a:lnSpc>
                <a:spcPts val="3200"/>
              </a:lnSpc>
              <a:defRPr sz="2800" strike="noStrike">
                <a:solidFill>
                  <a:schemeClr val="bg1"/>
                </a:solidFill>
              </a:defRPr>
            </a:lvl1pPr>
          </a:lstStyle>
          <a:p>
            <a:r>
              <a:rPr lang="en-US"/>
              <a:t>Title</a:t>
            </a:r>
          </a:p>
        </p:txBody>
      </p:sp>
    </p:spTree>
    <p:extLst>
      <p:ext uri="{BB962C8B-B14F-4D97-AF65-F5344CB8AC3E}">
        <p14:creationId xmlns:p14="http://schemas.microsoft.com/office/powerpoint/2010/main" val="30228043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4"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tx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FDE817-4581-481C-9C54-D23C2F82ACA3}"/>
              </a:ext>
            </a:extLst>
          </p:cNvPr>
          <p:cNvSpPr>
            <a:spLocks noGrp="1"/>
          </p:cNvSpPr>
          <p:nvPr>
            <p:ph type="title" hasCustomPrompt="1"/>
          </p:nvPr>
        </p:nvSpPr>
        <p:spPr>
          <a:xfrm>
            <a:off x="427039" y="3275663"/>
            <a:ext cx="9240836" cy="443198"/>
          </a:xfrm>
          <a:noFill/>
        </p:spPr>
        <p:txBody>
          <a:bodyPr wrap="square" lIns="0" tIns="0" rIns="0" bIns="0" anchor="ctr" anchorCtr="0">
            <a:spAutoFit/>
          </a:bodyPr>
          <a:lstStyle>
            <a:lvl1pPr algn="l" defTabSz="951304" rtl="0" eaLnBrk="1" latinLnBrk="0" hangingPunct="1">
              <a:lnSpc>
                <a:spcPct val="90000"/>
              </a:lnSpc>
              <a:spcBef>
                <a:spcPct val="0"/>
              </a:spcBef>
              <a:buNone/>
              <a:defRPr lang="en-US" sz="3200" b="0" kern="1200" cap="none" spc="-51" baseline="0" dirty="0">
                <a:ln w="3175">
                  <a:noFill/>
                </a:ln>
                <a:solidFill>
                  <a:schemeClr val="bg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31342870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prstGeom prst="rect">
            <a:avLst/>
          </a:prstGeom>
          <a:noFill/>
        </p:spPr>
        <p:txBody>
          <a:bodyPr vert="horz" wrap="square" lIns="0" tIns="0" rIns="0" bIns="0" rtlCol="0" anchor="t" anchorCtr="0">
            <a:noAutofit/>
          </a:bodyPr>
          <a:lstStyle>
            <a:lvl1pPr>
              <a:defRPr lang="en-US" sz="4800" spc="-50" baseline="0" dirty="0">
                <a:solidFill>
                  <a:srgbClr val="FFFFFF"/>
                </a:solidFill>
              </a:defRPr>
            </a:lvl1pPr>
          </a:lstStyle>
          <a:p>
            <a:pPr marL="0" lvl="0">
              <a:lnSpc>
                <a:spcPts val="5600"/>
              </a:lnSpc>
            </a:pPr>
            <a:r>
              <a:rPr lang="en-US"/>
              <a:t>Section title</a:t>
            </a:r>
          </a:p>
        </p:txBody>
      </p:sp>
    </p:spTree>
    <p:extLst>
      <p:ext uri="{BB962C8B-B14F-4D97-AF65-F5344CB8AC3E}">
        <p14:creationId xmlns:p14="http://schemas.microsoft.com/office/powerpoint/2010/main" val="25180712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a:prstGeom prst="rect">
            <a:avLst/>
          </a:prstGeom>
        </p:spPr>
        <p:txBody>
          <a:bodyPr wrap="square" lIns="0" tIns="0" rIns="0" bIns="0">
            <a:spAutoFit/>
          </a:bodyPr>
          <a:lstStyle>
            <a:lvl1pPr>
              <a:lnSpc>
                <a:spcPts val="3200"/>
              </a:lnSpc>
              <a:defRPr sz="2800">
                <a:solidFill>
                  <a:srgbClr val="000000"/>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a:prstGeom prst="rect">
            <a:avLst/>
          </a:prstGeom>
        </p:spPr>
        <p:txBody>
          <a:bodyPr anchor="ctr" anchorCtr="0"/>
          <a:lstStyle>
            <a:lvl1pPr algn="ctr">
              <a:defRPr/>
            </a:lvl1pPr>
          </a:lstStyle>
          <a:p>
            <a:r>
              <a:rPr lang="en-US"/>
              <a:t>Click icon to add table</a:t>
            </a:r>
          </a:p>
        </p:txBody>
      </p:sp>
      <p:sp>
        <p:nvSpPr>
          <p:cNvPr id="10" name="Text Box 3">
            <a:extLst>
              <a:ext uri="{FF2B5EF4-FFF2-40B4-BE49-F238E27FC236}">
                <a16:creationId xmlns:a16="http://schemas.microsoft.com/office/drawing/2014/main" id="{AD9F5927-827C-2E4D-8781-07CF39C27494}"/>
              </a:ext>
            </a:extLst>
          </p:cNvPr>
          <p:cNvSpPr txBox="1">
            <a:spLocks noChangeArrowheads="1"/>
          </p:cNvSpPr>
          <p:nvPr userDrawn="1"/>
        </p:nvSpPr>
        <p:spPr bwMode="blackWhite">
          <a:xfrm>
            <a:off x="463276" y="6583680"/>
            <a:ext cx="11533187"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95915" y="1464074"/>
            <a:ext cx="11239464" cy="1446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92124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7"/>
            <a:ext cx="11530584"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2"/>
            <a:ext cx="11456988" cy="2062103"/>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rot="5400000">
            <a:off x="9621908" y="2898552"/>
            <a:ext cx="6979503" cy="1188133"/>
          </a:xfrm>
          <a:prstGeom prst="rect">
            <a:avLst/>
          </a:prstGeom>
        </p:spPr>
      </p:pic>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83" r:id="rId1"/>
    <p:sldLayoutId id="2147484562" r:id="rId2"/>
    <p:sldLayoutId id="2147484617" r:id="rId3"/>
    <p:sldLayoutId id="2147484580" r:id="rId4"/>
    <p:sldLayoutId id="2147484563" r:id="rId5"/>
    <p:sldLayoutId id="2147484619" r:id="rId6"/>
    <p:sldLayoutId id="2147484615" r:id="rId7"/>
    <p:sldLayoutId id="2147484572" r:id="rId8"/>
    <p:sldLayoutId id="2147484622" r:id="rId9"/>
    <p:sldLayoutId id="2147484623" r:id="rId10"/>
    <p:sldLayoutId id="2147484624" r:id="rId11"/>
    <p:sldLayoutId id="2147484625" r:id="rId12"/>
  </p:sldLayoutIdLst>
  <p:transition>
    <p:fade/>
  </p:transition>
  <p:hf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69"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3"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2.xml"/><Relationship Id="rId5" Type="http://schemas.openxmlformats.org/officeDocument/2006/relationships/image" Target="../media/image30.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3.wmf"/><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 Type="http://schemas.openxmlformats.org/officeDocument/2006/relationships/image" Target="../media/image34.png"/><Relationship Id="rId21" Type="http://schemas.openxmlformats.org/officeDocument/2006/relationships/image" Target="../media/image50.png"/><Relationship Id="rId7" Type="http://schemas.openxmlformats.org/officeDocument/2006/relationships/image" Target="../media/image38.png"/><Relationship Id="rId12" Type="http://schemas.openxmlformats.org/officeDocument/2006/relationships/hyperlink" Target="http://www.unixmen.com/introduction-mysql-database/" TargetMode="External"/><Relationship Id="rId17" Type="http://schemas.openxmlformats.org/officeDocument/2006/relationships/image" Target="../media/image46.png"/><Relationship Id="rId25" Type="http://schemas.openxmlformats.org/officeDocument/2006/relationships/image" Target="../media/image54.png"/><Relationship Id="rId2" Type="http://schemas.openxmlformats.org/officeDocument/2006/relationships/notesSlide" Target="../notesSlides/notesSlide6.xml"/><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8.svg"/><Relationship Id="rId1" Type="http://schemas.openxmlformats.org/officeDocument/2006/relationships/slideLayout" Target="../slideLayouts/slideLayout2.xml"/><Relationship Id="rId6" Type="http://schemas.openxmlformats.org/officeDocument/2006/relationships/image" Target="../media/image37.png"/><Relationship Id="rId11" Type="http://schemas.openxmlformats.org/officeDocument/2006/relationships/image" Target="../media/image41.jpeg"/><Relationship Id="rId24" Type="http://schemas.openxmlformats.org/officeDocument/2006/relationships/image" Target="../media/image53.jpeg"/><Relationship Id="rId32" Type="http://schemas.openxmlformats.org/officeDocument/2006/relationships/hyperlink" Target="https://en.wikipedia.org/wiki/Open-source_software" TargetMode="External"/><Relationship Id="rId5" Type="http://schemas.openxmlformats.org/officeDocument/2006/relationships/image" Target="../media/image36.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10" Type="http://schemas.openxmlformats.org/officeDocument/2006/relationships/hyperlink" Target="http://commons.wikimedia.org/wiki/File:Postgresql_elephant.svg" TargetMode="External"/><Relationship Id="rId19" Type="http://schemas.openxmlformats.org/officeDocument/2006/relationships/image" Target="../media/image48.png"/><Relationship Id="rId31" Type="http://schemas.openxmlformats.org/officeDocument/2006/relationships/image" Target="../media/image60.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61.wmf"/><Relationship Id="rId7" Type="http://schemas.openxmlformats.org/officeDocument/2006/relationships/image" Target="../media/image65.wmf"/><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4.wmf"/><Relationship Id="rId5" Type="http://schemas.openxmlformats.org/officeDocument/2006/relationships/image" Target="../media/image63.wmf"/><Relationship Id="rId4" Type="http://schemas.openxmlformats.org/officeDocument/2006/relationships/image" Target="../media/image62.emf"/></Relationships>
</file>

<file path=ppt/slides/_rels/slide18.xml.rels><?xml version="1.0" encoding="UTF-8" standalone="yes"?>
<Relationships xmlns="http://schemas.openxmlformats.org/package/2006/relationships"><Relationship Id="rId3" Type="http://schemas.openxmlformats.org/officeDocument/2006/relationships/image" Target="../media/image66.wmf"/><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9.wmf"/><Relationship Id="rId5" Type="http://schemas.openxmlformats.org/officeDocument/2006/relationships/image" Target="../media/image68.wmf"/><Relationship Id="rId4" Type="http://schemas.openxmlformats.org/officeDocument/2006/relationships/image" Target="../media/image67.emf"/></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0.wm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1.wmf"/><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3.wmf"/><Relationship Id="rId4" Type="http://schemas.openxmlformats.org/officeDocument/2006/relationships/image" Target="../media/image72.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75.emf"/></Relationships>
</file>

<file path=ppt/slides/_rels/slide25.x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hyperlink" Target="https://www.blackducksoftware.com/"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hyperlink" Target="https://www.veracode.com/" TargetMode="External"/><Relationship Id="rId5" Type="http://schemas.openxmlformats.org/officeDocument/2006/relationships/hyperlink" Target="https://www.checkmarx.com/" TargetMode="External"/><Relationship Id="rId4" Type="http://schemas.openxmlformats.org/officeDocument/2006/relationships/hyperlink" Target="https://www.mend.io/"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image" Target="../media/image9.emf"/><Relationship Id="rId7" Type="http://schemas.openxmlformats.org/officeDocument/2006/relationships/image" Target="../media/image13.wmf"/><Relationship Id="rId2" Type="http://schemas.openxmlformats.org/officeDocument/2006/relationships/image" Target="../media/image8.wmf"/><Relationship Id="rId1" Type="http://schemas.openxmlformats.org/officeDocument/2006/relationships/slideLayout" Target="../slideLayouts/slideLayout2.xml"/><Relationship Id="rId6" Type="http://schemas.openxmlformats.org/officeDocument/2006/relationships/image" Target="../media/image12.wmf"/><Relationship Id="rId5" Type="http://schemas.openxmlformats.org/officeDocument/2006/relationships/image" Target="../media/image11.emf"/><Relationship Id="rId4" Type="http://schemas.openxmlformats.org/officeDocument/2006/relationships/image" Target="../media/image10.wmf"/></Relationships>
</file>

<file path=ppt/slides/_rels/slide3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1.wmf"/><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82.wmf"/><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84.wmf"/><Relationship Id="rId5" Type="http://schemas.openxmlformats.org/officeDocument/2006/relationships/hyperlink" Target="http://owasp.org/" TargetMode="External"/><Relationship Id="rId4" Type="http://schemas.openxmlformats.org/officeDocument/2006/relationships/image" Target="../media/image83.wmf"/></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wmf"/><Relationship Id="rId7" Type="http://schemas.openxmlformats.org/officeDocument/2006/relationships/image" Target="../media/image19.w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8.wmf"/><Relationship Id="rId5" Type="http://schemas.openxmlformats.org/officeDocument/2006/relationships/image" Target="../media/image17.wmf"/><Relationship Id="rId4" Type="http://schemas.openxmlformats.org/officeDocument/2006/relationships/image" Target="../media/image16.wmf"/><Relationship Id="rId9" Type="http://schemas.openxmlformats.org/officeDocument/2006/relationships/image" Target="../media/image21.emf"/></Relationships>
</file>

<file path=ppt/slides/_rels/slide4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29.xml"/><Relationship Id="rId1" Type="http://schemas.openxmlformats.org/officeDocument/2006/relationships/slideLayout" Target="../slideLayouts/slideLayout11.xml"/><Relationship Id="rId4" Type="http://schemas.openxmlformats.org/officeDocument/2006/relationships/chart" Target="../charts/chart1.xml"/></Relationships>
</file>

<file path=ppt/slides/_rels/slide49.xml.rels><?xml version="1.0" encoding="UTF-8" standalone="yes"?>
<Relationships xmlns="http://schemas.openxmlformats.org/package/2006/relationships"><Relationship Id="rId3" Type="http://schemas.openxmlformats.org/officeDocument/2006/relationships/hyperlink" Target="https://docs.microsoft.com/en-in/azure/container-instances/" TargetMode="External"/><Relationship Id="rId2" Type="http://schemas.openxmlformats.org/officeDocument/2006/relationships/notesSlide" Target="../notesSlides/notesSlide30.xml"/><Relationship Id="rId1" Type="http://schemas.openxmlformats.org/officeDocument/2006/relationships/slideLayout" Target="../slideLayouts/slideLayout11.xml"/><Relationship Id="rId5" Type="http://schemas.openxmlformats.org/officeDocument/2006/relationships/chart" Target="../charts/chart2.xml"/><Relationship Id="rId4" Type="http://schemas.openxmlformats.org/officeDocument/2006/relationships/image" Target="../media/image98.emf"/></Relationships>
</file>

<file path=ppt/slides/_rels/slide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image" Target="../media/image16.wmf"/><Relationship Id="rId7" Type="http://schemas.openxmlformats.org/officeDocument/2006/relationships/image" Target="../media/image20.emf"/><Relationship Id="rId2" Type="http://schemas.openxmlformats.org/officeDocument/2006/relationships/image" Target="../media/image15.wmf"/><Relationship Id="rId1" Type="http://schemas.openxmlformats.org/officeDocument/2006/relationships/slideLayout" Target="../slideLayouts/slideLayout2.xml"/><Relationship Id="rId6" Type="http://schemas.openxmlformats.org/officeDocument/2006/relationships/image" Target="../media/image19.wmf"/><Relationship Id="rId5" Type="http://schemas.openxmlformats.org/officeDocument/2006/relationships/image" Target="../media/image18.wmf"/><Relationship Id="rId4" Type="http://schemas.openxmlformats.org/officeDocument/2006/relationships/image" Target="../media/image17.wmf"/></Relationships>
</file>

<file path=ppt/slides/_rels/slide52.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7277" y="1498830"/>
            <a:ext cx="5537797" cy="3996864"/>
          </a:xfrm>
        </p:spPr>
        <p:txBody>
          <a:bodyPr anchor="ctr"/>
          <a:lstStyle/>
          <a:p>
            <a:r>
              <a:rPr lang="en-US" dirty="0"/>
              <a:t>AZ-400.00</a:t>
            </a:r>
            <a:br>
              <a:rPr lang="en-US" dirty="0"/>
            </a:br>
            <a:r>
              <a:rPr lang="en-US" dirty="0"/>
              <a:t>Learning Path 07:</a:t>
            </a:r>
            <a:br>
              <a:rPr lang="en-US" dirty="0"/>
            </a:br>
            <a:r>
              <a:rPr lang="en-US" dirty="0"/>
              <a:t>Implement security and validate code bases for compliance</a:t>
            </a:r>
          </a:p>
        </p:txBody>
      </p:sp>
    </p:spTree>
    <p:extLst>
      <p:ext uri="{BB962C8B-B14F-4D97-AF65-F5344CB8AC3E}">
        <p14:creationId xmlns:p14="http://schemas.microsoft.com/office/powerpoint/2010/main" val="363585291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837B3-E2D3-4786-A4E1-E672770A0FF3}"/>
              </a:ext>
            </a:extLst>
          </p:cNvPr>
          <p:cNvSpPr>
            <a:spLocks noGrp="1"/>
          </p:cNvSpPr>
          <p:nvPr>
            <p:ph type="title"/>
          </p:nvPr>
        </p:nvSpPr>
        <p:spPr>
          <a:xfrm>
            <a:off x="427038" y="632779"/>
            <a:ext cx="11571287" cy="411162"/>
          </a:xfrm>
        </p:spPr>
        <p:txBody>
          <a:bodyPr/>
          <a:lstStyle/>
          <a:p>
            <a:r>
              <a:rPr lang="en-US" dirty="0"/>
              <a:t>Explore key validation points</a:t>
            </a:r>
          </a:p>
        </p:txBody>
      </p:sp>
      <p:pic>
        <p:nvPicPr>
          <p:cNvPr id="25" name="Picture 24" descr="Flowchart with IDE and Pull, CI, Dev, and Test. Each node has validation and feedback">
            <a:extLst>
              <a:ext uri="{FF2B5EF4-FFF2-40B4-BE49-F238E27FC236}">
                <a16:creationId xmlns:a16="http://schemas.microsoft.com/office/drawing/2014/main" id="{902BA2BA-35E7-48B0-9E51-370D2BAD7620}"/>
              </a:ext>
            </a:extLst>
          </p:cNvPr>
          <p:cNvPicPr>
            <a:picLocks noChangeAspect="1"/>
          </p:cNvPicPr>
          <p:nvPr/>
        </p:nvPicPr>
        <p:blipFill rotWithShape="1">
          <a:blip r:embed="rId2"/>
          <a:srcRect l="-1128" t="-2736" r="-1128" b="-2736"/>
          <a:stretch/>
        </p:blipFill>
        <p:spPr>
          <a:xfrm>
            <a:off x="457202" y="1200151"/>
            <a:ext cx="11552236" cy="4690783"/>
          </a:xfrm>
          <a:prstGeom prst="rect">
            <a:avLst/>
          </a:prstGeom>
          <a:ln w="19050">
            <a:solidFill>
              <a:schemeClr val="tx2"/>
            </a:solidFill>
          </a:ln>
        </p:spPr>
      </p:pic>
      <p:sp>
        <p:nvSpPr>
          <p:cNvPr id="4" name="Rectangle 3">
            <a:extLst>
              <a:ext uri="{FF2B5EF4-FFF2-40B4-BE49-F238E27FC236}">
                <a16:creationId xmlns:a16="http://schemas.microsoft.com/office/drawing/2014/main" id="{E18481C2-C4DF-4FD4-A008-77A694FA7485}"/>
              </a:ext>
            </a:extLst>
          </p:cNvPr>
          <p:cNvSpPr/>
          <p:nvPr/>
        </p:nvSpPr>
        <p:spPr>
          <a:xfrm>
            <a:off x="439737" y="6015038"/>
            <a:ext cx="11587163" cy="530223"/>
          </a:xfrm>
          <a:prstGeom prst="rect">
            <a:avLst/>
          </a:prstGeom>
          <a:solidFill>
            <a:schemeClr val="accent2">
              <a:lumMod val="75000"/>
            </a:schemeClr>
          </a:solidFill>
          <a:ln w="19050">
            <a:noFill/>
          </a:ln>
        </p:spPr>
        <p:style>
          <a:lnRef idx="0">
            <a:scrgbClr r="0" g="0" b="0"/>
          </a:lnRef>
          <a:fillRef idx="0">
            <a:scrgbClr r="0" g="0" b="0"/>
          </a:fillRef>
          <a:effectRef idx="0">
            <a:scrgbClr r="0" g="0" b="0"/>
          </a:effectRef>
          <a:fontRef idx="minor">
            <a:schemeClr val="lt1"/>
          </a:fontRef>
        </p:style>
        <p:txBody>
          <a:bodyPr spcFirstLastPara="0" vert="horz" wrap="square" lIns="137160" tIns="91440" rIns="137160" bIns="91440" numCol="1" spcCol="1270" anchor="ctr" anchorCtr="0">
            <a:noAutofit/>
          </a:bodyPr>
          <a:lstStyle/>
          <a:p>
            <a:pPr algn="ctr"/>
            <a:r>
              <a:rPr lang="en-US" dirty="0">
                <a:solidFill>
                  <a:schemeClr val="bg1"/>
                </a:solidFill>
                <a:latin typeface="+mj-lt"/>
              </a:rPr>
              <a:t>Continuous security validation should be added at each step from development through production</a:t>
            </a:r>
          </a:p>
        </p:txBody>
      </p:sp>
    </p:spTree>
    <p:extLst>
      <p:ext uri="{BB962C8B-B14F-4D97-AF65-F5344CB8AC3E}">
        <p14:creationId xmlns:p14="http://schemas.microsoft.com/office/powerpoint/2010/main" val="28316172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8F6A3-7468-4B07-9B89-7F4CFF65B794}"/>
              </a:ext>
            </a:extLst>
          </p:cNvPr>
          <p:cNvSpPr>
            <a:spLocks noGrp="1"/>
          </p:cNvSpPr>
          <p:nvPr>
            <p:ph type="title"/>
          </p:nvPr>
        </p:nvSpPr>
        <p:spPr>
          <a:xfrm>
            <a:off x="465138" y="632779"/>
            <a:ext cx="11533187" cy="411162"/>
          </a:xfrm>
        </p:spPr>
        <p:txBody>
          <a:bodyPr/>
          <a:lstStyle/>
          <a:p>
            <a:r>
              <a:rPr lang="en-US" dirty="0"/>
              <a:t>Explore continuous security validation</a:t>
            </a:r>
          </a:p>
        </p:txBody>
      </p:sp>
      <p:sp>
        <p:nvSpPr>
          <p:cNvPr id="14" name="Rectangle 5">
            <a:extLst>
              <a:ext uri="{FF2B5EF4-FFF2-40B4-BE49-F238E27FC236}">
                <a16:creationId xmlns:a16="http://schemas.microsoft.com/office/drawing/2014/main" id="{1CC49503-5232-4809-A20D-2F59639A1D96}"/>
              </a:ext>
              <a:ext uri="{C183D7F6-B498-43B3-948B-1728B52AA6E4}">
                <adec:decorative xmlns:adec="http://schemas.microsoft.com/office/drawing/2017/decorative" val="1"/>
              </a:ext>
            </a:extLst>
          </p:cNvPr>
          <p:cNvSpPr>
            <a:spLocks noChangeArrowheads="1"/>
          </p:cNvSpPr>
          <p:nvPr/>
        </p:nvSpPr>
        <p:spPr bwMode="auto">
          <a:xfrm>
            <a:off x="436563" y="1355725"/>
            <a:ext cx="11572874" cy="3724275"/>
          </a:xfrm>
          <a:prstGeom prst="rect">
            <a:avLst/>
          </a:prstGeom>
          <a:noFill/>
          <a:ln w="19050">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82880" tIns="137160" rIns="182880" bIns="137160" numCol="1" anchor="b" anchorCtr="0" compatLnSpc="1">
            <a:prstTxWarp prst="textNoShape">
              <a:avLst/>
            </a:prstTxWarp>
          </a:bodyPr>
          <a:lstStyle/>
          <a:p>
            <a:pPr lvl="0"/>
            <a:endParaRPr lang="en-US" sz="1400" dirty="0">
              <a:solidFill>
                <a:srgbClr val="000000"/>
              </a:solidFill>
            </a:endParaRPr>
          </a:p>
        </p:txBody>
      </p:sp>
      <p:sp>
        <p:nvSpPr>
          <p:cNvPr id="7" name="Rectangle 5">
            <a:extLst>
              <a:ext uri="{FF2B5EF4-FFF2-40B4-BE49-F238E27FC236}">
                <a16:creationId xmlns:a16="http://schemas.microsoft.com/office/drawing/2014/main" id="{B97A3920-EAA6-438A-AA19-D20EBEF9363B}"/>
              </a:ext>
            </a:extLst>
          </p:cNvPr>
          <p:cNvSpPr>
            <a:spLocks noChangeArrowheads="1"/>
          </p:cNvSpPr>
          <p:nvPr/>
        </p:nvSpPr>
        <p:spPr bwMode="auto">
          <a:xfrm>
            <a:off x="595086" y="1509486"/>
            <a:ext cx="2707904" cy="2307771"/>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400" dirty="0">
                <a:solidFill>
                  <a:schemeClr val="tx2"/>
                </a:solidFill>
                <a:latin typeface="+mj-lt"/>
              </a:rPr>
              <a:t>Coding</a:t>
            </a:r>
          </a:p>
        </p:txBody>
      </p:sp>
      <p:pic>
        <p:nvPicPr>
          <p:cNvPr id="26" name="Picture 25" descr="Icon of a person sitting in a desk">
            <a:extLst>
              <a:ext uri="{FF2B5EF4-FFF2-40B4-BE49-F238E27FC236}">
                <a16:creationId xmlns:a16="http://schemas.microsoft.com/office/drawing/2014/main" id="{D624E4FD-3998-40DD-9900-33CEC8BBFDB3}"/>
              </a:ext>
            </a:extLst>
          </p:cNvPr>
          <p:cNvPicPr>
            <a:picLocks noChangeAspect="1"/>
          </p:cNvPicPr>
          <p:nvPr/>
        </p:nvPicPr>
        <p:blipFill>
          <a:blip r:embed="rId2"/>
          <a:stretch>
            <a:fillRect/>
          </a:stretch>
        </p:blipFill>
        <p:spPr>
          <a:xfrm>
            <a:off x="1369759" y="2335546"/>
            <a:ext cx="1158558" cy="1158558"/>
          </a:xfrm>
          <a:prstGeom prst="rect">
            <a:avLst/>
          </a:prstGeom>
        </p:spPr>
      </p:pic>
      <p:sp>
        <p:nvSpPr>
          <p:cNvPr id="16" name="Rectangle 5">
            <a:extLst>
              <a:ext uri="{FF2B5EF4-FFF2-40B4-BE49-F238E27FC236}">
                <a16:creationId xmlns:a16="http://schemas.microsoft.com/office/drawing/2014/main" id="{4B3CDABB-9923-48FB-B476-5657E773FBCB}"/>
              </a:ext>
            </a:extLst>
          </p:cNvPr>
          <p:cNvSpPr>
            <a:spLocks noChangeArrowheads="1"/>
          </p:cNvSpPr>
          <p:nvPr/>
        </p:nvSpPr>
        <p:spPr bwMode="auto">
          <a:xfrm>
            <a:off x="595086" y="3918858"/>
            <a:ext cx="2707904" cy="638628"/>
          </a:xfrm>
          <a:prstGeom prst="rect">
            <a:avLst/>
          </a:prstGeom>
          <a:noFill/>
          <a:ln w="19050">
            <a:solidFill>
              <a:schemeClr val="bg1">
                <a:lumMod val="65000"/>
              </a:schemeClr>
            </a:solid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2000" b="0" i="0" u="none" strike="noStrike" cap="none" normalizeH="0" baseline="0" dirty="0">
                <a:ln>
                  <a:noFill/>
                </a:ln>
                <a:effectLst/>
                <a:latin typeface="+mj-lt"/>
              </a:rPr>
              <a:t>$80/defect</a:t>
            </a:r>
          </a:p>
        </p:txBody>
      </p:sp>
      <p:sp>
        <p:nvSpPr>
          <p:cNvPr id="9" name="Rectangle 7">
            <a:extLst>
              <a:ext uri="{FF2B5EF4-FFF2-40B4-BE49-F238E27FC236}">
                <a16:creationId xmlns:a16="http://schemas.microsoft.com/office/drawing/2014/main" id="{1FD08896-D350-40BE-8366-5B109EFE7F38}"/>
              </a:ext>
            </a:extLst>
          </p:cNvPr>
          <p:cNvSpPr>
            <a:spLocks noChangeArrowheads="1"/>
          </p:cNvSpPr>
          <p:nvPr/>
        </p:nvSpPr>
        <p:spPr bwMode="auto">
          <a:xfrm>
            <a:off x="3446298" y="1509486"/>
            <a:ext cx="2709450" cy="2307771"/>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400" dirty="0">
                <a:solidFill>
                  <a:schemeClr val="tx2"/>
                </a:solidFill>
                <a:latin typeface="+mj-lt"/>
              </a:rPr>
              <a:t>Build</a:t>
            </a:r>
          </a:p>
        </p:txBody>
      </p:sp>
      <p:pic>
        <p:nvPicPr>
          <p:cNvPr id="20" name="Picture 19" descr="Icon of a screen with three circles enclosed by outward pointing chevrons on left and right">
            <a:extLst>
              <a:ext uri="{FF2B5EF4-FFF2-40B4-BE49-F238E27FC236}">
                <a16:creationId xmlns:a16="http://schemas.microsoft.com/office/drawing/2014/main" id="{7F53EC2D-8330-4F78-B35E-334DC851446A}"/>
              </a:ext>
            </a:extLst>
          </p:cNvPr>
          <p:cNvPicPr>
            <a:picLocks noChangeAspect="1"/>
          </p:cNvPicPr>
          <p:nvPr/>
        </p:nvPicPr>
        <p:blipFill>
          <a:blip r:embed="rId3"/>
          <a:stretch>
            <a:fillRect/>
          </a:stretch>
        </p:blipFill>
        <p:spPr>
          <a:xfrm>
            <a:off x="4034365" y="2339517"/>
            <a:ext cx="1533316" cy="1150616"/>
          </a:xfrm>
          <a:prstGeom prst="rect">
            <a:avLst/>
          </a:prstGeom>
        </p:spPr>
      </p:pic>
      <p:sp>
        <p:nvSpPr>
          <p:cNvPr id="17" name="Rectangle 7">
            <a:extLst>
              <a:ext uri="{FF2B5EF4-FFF2-40B4-BE49-F238E27FC236}">
                <a16:creationId xmlns:a16="http://schemas.microsoft.com/office/drawing/2014/main" id="{6955661C-516A-4183-B506-2A9B43E4233B}"/>
              </a:ext>
            </a:extLst>
          </p:cNvPr>
          <p:cNvSpPr>
            <a:spLocks noChangeArrowheads="1"/>
          </p:cNvSpPr>
          <p:nvPr/>
        </p:nvSpPr>
        <p:spPr bwMode="auto">
          <a:xfrm>
            <a:off x="3446298" y="3918858"/>
            <a:ext cx="2709450" cy="638628"/>
          </a:xfrm>
          <a:prstGeom prst="rect">
            <a:avLst/>
          </a:prstGeom>
          <a:noFill/>
          <a:ln w="19050">
            <a:solidFill>
              <a:schemeClr val="bg1">
                <a:lumMod val="65000"/>
              </a:schemeClr>
            </a:solid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2000" b="0" i="0" u="none" strike="noStrike" cap="none" normalizeH="0" baseline="0" dirty="0">
                <a:ln>
                  <a:noFill/>
                </a:ln>
                <a:effectLst/>
                <a:latin typeface="+mj-lt"/>
              </a:rPr>
              <a:t>$240/defect</a:t>
            </a:r>
          </a:p>
        </p:txBody>
      </p:sp>
      <p:sp>
        <p:nvSpPr>
          <p:cNvPr id="11" name="Rectangle 9">
            <a:extLst>
              <a:ext uri="{FF2B5EF4-FFF2-40B4-BE49-F238E27FC236}">
                <a16:creationId xmlns:a16="http://schemas.microsoft.com/office/drawing/2014/main" id="{DA1B9AF2-55EF-41AC-ABDB-11DF9D80C65D}"/>
              </a:ext>
            </a:extLst>
          </p:cNvPr>
          <p:cNvSpPr>
            <a:spLocks noChangeArrowheads="1"/>
          </p:cNvSpPr>
          <p:nvPr/>
        </p:nvSpPr>
        <p:spPr bwMode="auto">
          <a:xfrm>
            <a:off x="6299056" y="1509486"/>
            <a:ext cx="2707904" cy="2307771"/>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400" dirty="0">
                <a:solidFill>
                  <a:schemeClr val="tx2"/>
                </a:solidFill>
                <a:latin typeface="+mj-lt"/>
              </a:rPr>
              <a:t>QA &amp; security</a:t>
            </a:r>
          </a:p>
        </p:txBody>
      </p:sp>
      <p:pic>
        <p:nvPicPr>
          <p:cNvPr id="24" name="Picture 23" descr="Icon of a magnifying glass">
            <a:extLst>
              <a:ext uri="{FF2B5EF4-FFF2-40B4-BE49-F238E27FC236}">
                <a16:creationId xmlns:a16="http://schemas.microsoft.com/office/drawing/2014/main" id="{83DFF2F7-6521-4A45-9551-22EB55A55D52}"/>
              </a:ext>
            </a:extLst>
          </p:cNvPr>
          <p:cNvPicPr>
            <a:picLocks noChangeAspect="1"/>
          </p:cNvPicPr>
          <p:nvPr/>
        </p:nvPicPr>
        <p:blipFill>
          <a:blip r:embed="rId4"/>
          <a:stretch>
            <a:fillRect/>
          </a:stretch>
        </p:blipFill>
        <p:spPr>
          <a:xfrm>
            <a:off x="7073729" y="2335546"/>
            <a:ext cx="1158558" cy="1158558"/>
          </a:xfrm>
          <a:prstGeom prst="rect">
            <a:avLst/>
          </a:prstGeom>
        </p:spPr>
      </p:pic>
      <p:sp>
        <p:nvSpPr>
          <p:cNvPr id="19" name="Rectangle 9">
            <a:extLst>
              <a:ext uri="{FF2B5EF4-FFF2-40B4-BE49-F238E27FC236}">
                <a16:creationId xmlns:a16="http://schemas.microsoft.com/office/drawing/2014/main" id="{526C016E-96AD-4714-8B30-3FDDE34D74AC}"/>
              </a:ext>
            </a:extLst>
          </p:cNvPr>
          <p:cNvSpPr>
            <a:spLocks noChangeArrowheads="1"/>
          </p:cNvSpPr>
          <p:nvPr/>
        </p:nvSpPr>
        <p:spPr bwMode="auto">
          <a:xfrm>
            <a:off x="6299056" y="3918858"/>
            <a:ext cx="2707904" cy="638628"/>
          </a:xfrm>
          <a:prstGeom prst="rect">
            <a:avLst/>
          </a:prstGeom>
          <a:noFill/>
          <a:ln w="19050">
            <a:solidFill>
              <a:schemeClr val="bg1">
                <a:lumMod val="65000"/>
              </a:schemeClr>
            </a:solid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2000" b="0" i="0" u="none" strike="noStrike" cap="none" normalizeH="0" baseline="0" dirty="0">
                <a:ln>
                  <a:noFill/>
                </a:ln>
                <a:effectLst/>
                <a:latin typeface="+mj-lt"/>
              </a:rPr>
              <a:t>$960/de</a:t>
            </a:r>
            <a:r>
              <a:rPr lang="en-US" altLang="en-US" sz="2000" dirty="0"/>
              <a:t>f</a:t>
            </a:r>
            <a:r>
              <a:rPr kumimoji="0" lang="en-US" altLang="en-US" sz="2000" b="0" i="0" u="none" strike="noStrike" cap="none" normalizeH="0" baseline="0" dirty="0">
                <a:ln>
                  <a:noFill/>
                </a:ln>
                <a:effectLst/>
                <a:latin typeface="+mj-lt"/>
              </a:rPr>
              <a:t>ect</a:t>
            </a:r>
          </a:p>
        </p:txBody>
      </p:sp>
      <p:sp>
        <p:nvSpPr>
          <p:cNvPr id="13" name="Rectangle 11">
            <a:extLst>
              <a:ext uri="{FF2B5EF4-FFF2-40B4-BE49-F238E27FC236}">
                <a16:creationId xmlns:a16="http://schemas.microsoft.com/office/drawing/2014/main" id="{F6C722F9-A5BD-4218-86C5-83D5902A15B8}"/>
              </a:ext>
            </a:extLst>
          </p:cNvPr>
          <p:cNvSpPr>
            <a:spLocks noChangeArrowheads="1"/>
          </p:cNvSpPr>
          <p:nvPr/>
        </p:nvSpPr>
        <p:spPr bwMode="auto">
          <a:xfrm>
            <a:off x="9150268" y="1509486"/>
            <a:ext cx="2707904" cy="2307771"/>
          </a:xfrm>
          <a:prstGeom prst="rect">
            <a:avLst/>
          </a:prstGeom>
          <a:solidFill>
            <a:schemeClr val="bg1">
              <a:lumMod val="95000"/>
            </a:schemeClr>
          </a:solidFill>
          <a:ln w="19050">
            <a:solidFill>
              <a:schemeClr val="bg1">
                <a:lumMod val="95000"/>
              </a:schemeClr>
            </a:solidFill>
            <a:prstDash val="solid"/>
            <a:miter lim="800000"/>
            <a:headEnd/>
            <a:tailEnd/>
          </a:ln>
        </p:spPr>
        <p:txBody>
          <a:bodyPr vert="horz" wrap="square" lIns="182880" tIns="137160" rIns="182880" bIns="137160" numCol="1" anchor="t" anchorCtr="0" compatLnSpc="1">
            <a:prstTxWarp prst="textNoShape">
              <a:avLst/>
            </a:prstTxWarp>
          </a:bodyPr>
          <a:lstStyle/>
          <a:p>
            <a:pPr algn="ctr" defTabSz="914400" eaLnBrk="0" fontAlgn="base" hangingPunct="0">
              <a:spcBef>
                <a:spcPts val="20400"/>
              </a:spcBef>
              <a:spcAft>
                <a:spcPct val="0"/>
              </a:spcAft>
            </a:pPr>
            <a:r>
              <a:rPr lang="en-US" altLang="en-US" sz="2400" dirty="0">
                <a:solidFill>
                  <a:schemeClr val="tx2"/>
                </a:solidFill>
                <a:latin typeface="+mj-lt"/>
              </a:rPr>
              <a:t>Production</a:t>
            </a:r>
          </a:p>
        </p:txBody>
      </p:sp>
      <p:pic>
        <p:nvPicPr>
          <p:cNvPr id="22" name="Picture 21" descr="Icon of a screen with filled chart ">
            <a:extLst>
              <a:ext uri="{FF2B5EF4-FFF2-40B4-BE49-F238E27FC236}">
                <a16:creationId xmlns:a16="http://schemas.microsoft.com/office/drawing/2014/main" id="{A06090E2-824E-4122-B6ED-9A7AD8CF5726}"/>
              </a:ext>
            </a:extLst>
          </p:cNvPr>
          <p:cNvPicPr>
            <a:picLocks noChangeAspect="1"/>
          </p:cNvPicPr>
          <p:nvPr/>
        </p:nvPicPr>
        <p:blipFill>
          <a:blip r:embed="rId5"/>
          <a:stretch>
            <a:fillRect/>
          </a:stretch>
        </p:blipFill>
        <p:spPr>
          <a:xfrm>
            <a:off x="9804885" y="2390037"/>
            <a:ext cx="1398670" cy="1049576"/>
          </a:xfrm>
          <a:prstGeom prst="rect">
            <a:avLst/>
          </a:prstGeom>
        </p:spPr>
      </p:pic>
      <p:sp>
        <p:nvSpPr>
          <p:cNvPr id="21" name="Rectangle 11">
            <a:extLst>
              <a:ext uri="{FF2B5EF4-FFF2-40B4-BE49-F238E27FC236}">
                <a16:creationId xmlns:a16="http://schemas.microsoft.com/office/drawing/2014/main" id="{06A5D1E6-12D8-4500-8EF8-484B1D3644FC}"/>
              </a:ext>
            </a:extLst>
          </p:cNvPr>
          <p:cNvSpPr>
            <a:spLocks noChangeArrowheads="1"/>
          </p:cNvSpPr>
          <p:nvPr/>
        </p:nvSpPr>
        <p:spPr bwMode="auto">
          <a:xfrm>
            <a:off x="9150268" y="3918858"/>
            <a:ext cx="2707904" cy="638628"/>
          </a:xfrm>
          <a:prstGeom prst="rect">
            <a:avLst/>
          </a:prstGeom>
          <a:noFill/>
          <a:ln w="19050">
            <a:solidFill>
              <a:schemeClr val="bg1">
                <a:lumMod val="65000"/>
              </a:schemeClr>
            </a:solidFill>
            <a:prstDash val="solid"/>
            <a:miter lim="800000"/>
            <a:headEnd/>
            <a:tailEnd/>
          </a:ln>
        </p:spPr>
        <p:txBody>
          <a:bodyPr vert="horz" wrap="square" lIns="182880" tIns="137160" rIns="182880" bIns="137160" numCol="1" anchor="ctr" anchorCtr="0" compatLnSpc="1">
            <a:prstTxWarp prst="textNoShape">
              <a:avLst/>
            </a:prstTxWarp>
          </a:bodyPr>
          <a:lstStyle/>
          <a:p>
            <a:pPr algn="ctr" defTabSz="914400" eaLnBrk="0" fontAlgn="base" hangingPunct="0">
              <a:spcBef>
                <a:spcPts val="20400"/>
              </a:spcBef>
              <a:spcAft>
                <a:spcPct val="0"/>
              </a:spcAft>
            </a:pPr>
            <a:r>
              <a:rPr kumimoji="0" lang="en-US" altLang="en-US" sz="2000" b="0" i="0" u="none" strike="noStrike" cap="none" normalizeH="0" baseline="0" dirty="0">
                <a:ln>
                  <a:noFill/>
                </a:ln>
                <a:effectLst/>
                <a:latin typeface="+mj-lt"/>
              </a:rPr>
              <a:t>$7,600/defect</a:t>
            </a:r>
          </a:p>
        </p:txBody>
      </p:sp>
      <p:sp>
        <p:nvSpPr>
          <p:cNvPr id="8" name="Rectangle 7">
            <a:extLst>
              <a:ext uri="{FF2B5EF4-FFF2-40B4-BE49-F238E27FC236}">
                <a16:creationId xmlns:a16="http://schemas.microsoft.com/office/drawing/2014/main" id="{EAE0B5E5-F86A-41F9-B68C-2C6251F3E85A}"/>
              </a:ext>
            </a:extLst>
          </p:cNvPr>
          <p:cNvSpPr/>
          <p:nvPr/>
        </p:nvSpPr>
        <p:spPr>
          <a:xfrm>
            <a:off x="509134" y="4743195"/>
            <a:ext cx="3020186" cy="307777"/>
          </a:xfrm>
          <a:prstGeom prst="rect">
            <a:avLst/>
          </a:prstGeom>
        </p:spPr>
        <p:txBody>
          <a:bodyPr wrap="none">
            <a:spAutoFit/>
          </a:bodyPr>
          <a:lstStyle/>
          <a:p>
            <a:pPr lvl="0"/>
            <a:r>
              <a:rPr lang="en-US" sz="1400" dirty="0">
                <a:solidFill>
                  <a:srgbClr val="000000"/>
                </a:solidFill>
              </a:rPr>
              <a:t>Source: </a:t>
            </a:r>
            <a:r>
              <a:rPr lang="en-US" sz="1400" dirty="0" err="1">
                <a:solidFill>
                  <a:srgbClr val="000000"/>
                </a:solidFill>
              </a:rPr>
              <a:t>Ponemon</a:t>
            </a:r>
            <a:r>
              <a:rPr lang="en-US" sz="1400" dirty="0">
                <a:solidFill>
                  <a:srgbClr val="000000"/>
                </a:solidFill>
              </a:rPr>
              <a:t> Institute Research</a:t>
            </a:r>
          </a:p>
        </p:txBody>
      </p:sp>
      <p:sp>
        <p:nvSpPr>
          <p:cNvPr id="5" name="Rectangle 4">
            <a:extLst>
              <a:ext uri="{FF2B5EF4-FFF2-40B4-BE49-F238E27FC236}">
                <a16:creationId xmlns:a16="http://schemas.microsoft.com/office/drawing/2014/main" id="{DBCC0043-D8A8-49B5-891C-95C5E50C52BA}"/>
              </a:ext>
            </a:extLst>
          </p:cNvPr>
          <p:cNvSpPr/>
          <p:nvPr/>
        </p:nvSpPr>
        <p:spPr>
          <a:xfrm>
            <a:off x="427037" y="5228771"/>
            <a:ext cx="5711360" cy="1185861"/>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ctr" anchorCtr="0">
            <a:noAutofit/>
          </a:bodyPr>
          <a:lstStyle/>
          <a:p>
            <a:r>
              <a:rPr lang="en-US" sz="2400" dirty="0">
                <a:solidFill>
                  <a:schemeClr val="tx1"/>
                </a:solidFill>
              </a:rPr>
              <a:t>Reduce cost by </a:t>
            </a:r>
            <a:r>
              <a:rPr lang="en-US" sz="2400">
                <a:solidFill>
                  <a:schemeClr val="tx1"/>
                </a:solidFill>
              </a:rPr>
              <a:t>moving Secure DevOps </a:t>
            </a:r>
            <a:r>
              <a:rPr lang="en-US" sz="2400" dirty="0">
                <a:solidFill>
                  <a:schemeClr val="tx1"/>
                </a:solidFill>
              </a:rPr>
              <a:t>to the left</a:t>
            </a:r>
          </a:p>
        </p:txBody>
      </p:sp>
      <p:sp>
        <p:nvSpPr>
          <p:cNvPr id="6" name="Rectangle 5">
            <a:extLst>
              <a:ext uri="{FF2B5EF4-FFF2-40B4-BE49-F238E27FC236}">
                <a16:creationId xmlns:a16="http://schemas.microsoft.com/office/drawing/2014/main" id="{26C5751E-4390-471F-B674-08D06092D7CF}"/>
              </a:ext>
            </a:extLst>
          </p:cNvPr>
          <p:cNvSpPr/>
          <p:nvPr/>
        </p:nvSpPr>
        <p:spPr>
          <a:xfrm>
            <a:off x="6298076" y="5228771"/>
            <a:ext cx="5711360" cy="1185861"/>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ctr" anchorCtr="0">
            <a:noAutofit/>
          </a:bodyPr>
          <a:lstStyle/>
          <a:p>
            <a:r>
              <a:rPr lang="en-US" sz="2400">
                <a:solidFill>
                  <a:schemeClr val="tx1"/>
                </a:solidFill>
              </a:rPr>
              <a:t>Use automated tooling and </a:t>
            </a:r>
            <a:br>
              <a:rPr lang="en-US" sz="2400">
                <a:solidFill>
                  <a:schemeClr val="tx1"/>
                </a:solidFill>
              </a:rPr>
            </a:br>
            <a:r>
              <a:rPr lang="en-US" sz="2400">
                <a:solidFill>
                  <a:schemeClr val="tx1"/>
                </a:solidFill>
              </a:rPr>
              <a:t>processes to identify problems</a:t>
            </a:r>
            <a:endParaRPr lang="en-US" sz="2400" dirty="0">
              <a:solidFill>
                <a:schemeClr val="tx1"/>
              </a:solidFill>
            </a:endParaRPr>
          </a:p>
        </p:txBody>
      </p:sp>
    </p:spTree>
    <p:extLst>
      <p:ext uri="{BB962C8B-B14F-4D97-AF65-F5344CB8AC3E}">
        <p14:creationId xmlns:p14="http://schemas.microsoft.com/office/powerpoint/2010/main" val="26279835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452317-A0AB-4FBB-B7B3-4685E079425D}"/>
              </a:ext>
            </a:extLst>
          </p:cNvPr>
          <p:cNvSpPr>
            <a:spLocks noGrp="1"/>
          </p:cNvSpPr>
          <p:nvPr>
            <p:ph type="title"/>
          </p:nvPr>
        </p:nvSpPr>
        <p:spPr>
          <a:xfrm>
            <a:off x="427038" y="632779"/>
            <a:ext cx="11571287" cy="411162"/>
          </a:xfrm>
        </p:spPr>
        <p:txBody>
          <a:bodyPr/>
          <a:lstStyle/>
          <a:p>
            <a:r>
              <a:rPr lang="en-US" dirty="0"/>
              <a:t>Understand threat modeling</a:t>
            </a:r>
          </a:p>
        </p:txBody>
      </p:sp>
      <p:sp>
        <p:nvSpPr>
          <p:cNvPr id="9" name="Rectangle 8">
            <a:extLst>
              <a:ext uri="{FF2B5EF4-FFF2-40B4-BE49-F238E27FC236}">
                <a16:creationId xmlns:a16="http://schemas.microsoft.com/office/drawing/2014/main" id="{E12D3A25-2475-4D6E-B419-028A18F74271}"/>
              </a:ext>
            </a:extLst>
          </p:cNvPr>
          <p:cNvSpPr/>
          <p:nvPr/>
        </p:nvSpPr>
        <p:spPr>
          <a:xfrm>
            <a:off x="427038" y="1415469"/>
            <a:ext cx="5846762" cy="869625"/>
          </a:xfrm>
          <a:prstGeom prst="rect">
            <a:avLst/>
          </a:prstGeom>
          <a:solidFill>
            <a:schemeClr val="bg1">
              <a:lumMod val="95000"/>
            </a:schemeClr>
          </a:solidFill>
        </p:spPr>
        <p:txBody>
          <a:bodyPr wrap="square" lIns="182880" tIns="137160" rIns="182880" bIns="137160" anchor="ctr">
            <a:noAutofit/>
          </a:bodyPr>
          <a:lstStyle/>
          <a:p>
            <a:r>
              <a:rPr lang="en-US" sz="2400" dirty="0"/>
              <a:t>Define security requirements</a:t>
            </a:r>
          </a:p>
        </p:txBody>
      </p:sp>
      <p:sp>
        <p:nvSpPr>
          <p:cNvPr id="10" name="Rectangle 9">
            <a:extLst>
              <a:ext uri="{FF2B5EF4-FFF2-40B4-BE49-F238E27FC236}">
                <a16:creationId xmlns:a16="http://schemas.microsoft.com/office/drawing/2014/main" id="{AB99C86D-DC9C-4F59-9F70-FC3640926B92}"/>
              </a:ext>
            </a:extLst>
          </p:cNvPr>
          <p:cNvSpPr/>
          <p:nvPr/>
        </p:nvSpPr>
        <p:spPr>
          <a:xfrm>
            <a:off x="427038" y="2397904"/>
            <a:ext cx="5846762" cy="869625"/>
          </a:xfrm>
          <a:prstGeom prst="rect">
            <a:avLst/>
          </a:prstGeom>
          <a:solidFill>
            <a:schemeClr val="bg1">
              <a:lumMod val="95000"/>
            </a:schemeClr>
          </a:solidFill>
        </p:spPr>
        <p:txBody>
          <a:bodyPr wrap="square" lIns="182880" tIns="137160" rIns="182880" bIns="137160" anchor="ctr">
            <a:noAutofit/>
          </a:bodyPr>
          <a:lstStyle/>
          <a:p>
            <a:r>
              <a:rPr lang="en-US" sz="2400"/>
              <a:t>Create an application diagram</a:t>
            </a:r>
          </a:p>
        </p:txBody>
      </p:sp>
      <p:sp>
        <p:nvSpPr>
          <p:cNvPr id="11" name="Rectangle 10">
            <a:extLst>
              <a:ext uri="{FF2B5EF4-FFF2-40B4-BE49-F238E27FC236}">
                <a16:creationId xmlns:a16="http://schemas.microsoft.com/office/drawing/2014/main" id="{B95F5EF5-D463-47D9-BEBC-A5241610397E}"/>
              </a:ext>
            </a:extLst>
          </p:cNvPr>
          <p:cNvSpPr/>
          <p:nvPr/>
        </p:nvSpPr>
        <p:spPr>
          <a:xfrm>
            <a:off x="427038" y="3380340"/>
            <a:ext cx="5846762" cy="869625"/>
          </a:xfrm>
          <a:prstGeom prst="rect">
            <a:avLst/>
          </a:prstGeom>
          <a:solidFill>
            <a:schemeClr val="bg1">
              <a:lumMod val="95000"/>
            </a:schemeClr>
          </a:solidFill>
        </p:spPr>
        <p:txBody>
          <a:bodyPr wrap="square" lIns="182880" tIns="137160" rIns="182880" bIns="137160" anchor="ctr">
            <a:noAutofit/>
          </a:bodyPr>
          <a:lstStyle/>
          <a:p>
            <a:r>
              <a:rPr lang="en-US" sz="2400"/>
              <a:t>Identify threats</a:t>
            </a:r>
          </a:p>
        </p:txBody>
      </p:sp>
      <p:sp>
        <p:nvSpPr>
          <p:cNvPr id="12" name="Rectangle 11">
            <a:extLst>
              <a:ext uri="{FF2B5EF4-FFF2-40B4-BE49-F238E27FC236}">
                <a16:creationId xmlns:a16="http://schemas.microsoft.com/office/drawing/2014/main" id="{CD56BBCD-5024-47A3-AC60-A87C1A33F710}"/>
              </a:ext>
            </a:extLst>
          </p:cNvPr>
          <p:cNvSpPr/>
          <p:nvPr/>
        </p:nvSpPr>
        <p:spPr>
          <a:xfrm>
            <a:off x="427038" y="4362775"/>
            <a:ext cx="5846762" cy="869625"/>
          </a:xfrm>
          <a:prstGeom prst="rect">
            <a:avLst/>
          </a:prstGeom>
          <a:solidFill>
            <a:schemeClr val="bg1">
              <a:lumMod val="95000"/>
            </a:schemeClr>
          </a:solidFill>
        </p:spPr>
        <p:txBody>
          <a:bodyPr wrap="square" lIns="182880" tIns="137160" rIns="182880" bIns="137160" anchor="ctr">
            <a:noAutofit/>
          </a:bodyPr>
          <a:lstStyle/>
          <a:p>
            <a:r>
              <a:rPr lang="en-US" sz="2400"/>
              <a:t>Mitigate threats</a:t>
            </a:r>
          </a:p>
        </p:txBody>
      </p:sp>
      <p:sp>
        <p:nvSpPr>
          <p:cNvPr id="13" name="Rectangle 12">
            <a:extLst>
              <a:ext uri="{FF2B5EF4-FFF2-40B4-BE49-F238E27FC236}">
                <a16:creationId xmlns:a16="http://schemas.microsoft.com/office/drawing/2014/main" id="{C28748D0-CCA8-46D6-9A2D-F34053D41EE3}"/>
              </a:ext>
            </a:extLst>
          </p:cNvPr>
          <p:cNvSpPr/>
          <p:nvPr/>
        </p:nvSpPr>
        <p:spPr>
          <a:xfrm>
            <a:off x="427038" y="5345210"/>
            <a:ext cx="5846762" cy="1104774"/>
          </a:xfrm>
          <a:prstGeom prst="rect">
            <a:avLst/>
          </a:prstGeom>
          <a:solidFill>
            <a:schemeClr val="bg1">
              <a:lumMod val="95000"/>
            </a:schemeClr>
          </a:solidFill>
        </p:spPr>
        <p:txBody>
          <a:bodyPr wrap="square" lIns="182880" tIns="137160" rIns="182880" bIns="137160" anchor="ctr">
            <a:noAutofit/>
          </a:bodyPr>
          <a:lstStyle/>
          <a:p>
            <a:r>
              <a:rPr lang="en-US" sz="2400" dirty="0"/>
              <a:t>Validate that threats have been mitigated</a:t>
            </a:r>
          </a:p>
        </p:txBody>
      </p:sp>
      <p:sp>
        <p:nvSpPr>
          <p:cNvPr id="71" name="Rectangle 70">
            <a:extLst>
              <a:ext uri="{FF2B5EF4-FFF2-40B4-BE49-F238E27FC236}">
                <a16:creationId xmlns:a16="http://schemas.microsoft.com/office/drawing/2014/main" id="{8D7F9514-269F-47A7-9C41-C2DFBD580815}"/>
              </a:ext>
              <a:ext uri="{C183D7F6-B498-43B3-948B-1728B52AA6E4}">
                <adec:decorative xmlns:adec="http://schemas.microsoft.com/office/drawing/2017/decorative" val="1"/>
              </a:ext>
            </a:extLst>
          </p:cNvPr>
          <p:cNvSpPr/>
          <p:nvPr/>
        </p:nvSpPr>
        <p:spPr bwMode="auto">
          <a:xfrm>
            <a:off x="6400800" y="1415469"/>
            <a:ext cx="5555797" cy="5034515"/>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a:gradFill>
                <a:gsLst>
                  <a:gs pos="0">
                    <a:srgbClr val="FFFFFF"/>
                  </a:gs>
                  <a:gs pos="100000">
                    <a:srgbClr val="FFFFFF"/>
                  </a:gs>
                </a:gsLst>
                <a:lin ang="5400000" scaled="0"/>
              </a:gradFill>
              <a:cs typeface="Segoe UI" pitchFamily="34" charset="0"/>
            </a:endParaRPr>
          </a:p>
        </p:txBody>
      </p:sp>
      <p:grpSp>
        <p:nvGrpSpPr>
          <p:cNvPr id="46" name="Group 45" descr="A threat modelling having define, diagram, identify, mitigate, and validate">
            <a:extLst>
              <a:ext uri="{FF2B5EF4-FFF2-40B4-BE49-F238E27FC236}">
                <a16:creationId xmlns:a16="http://schemas.microsoft.com/office/drawing/2014/main" id="{130AEDF8-168E-4CCF-ABEC-2054CAE46693}"/>
              </a:ext>
            </a:extLst>
          </p:cNvPr>
          <p:cNvGrpSpPr/>
          <p:nvPr/>
        </p:nvGrpSpPr>
        <p:grpSpPr>
          <a:xfrm>
            <a:off x="6749823" y="1587989"/>
            <a:ext cx="4857750" cy="4689475"/>
            <a:chOff x="6749823" y="1587989"/>
            <a:chExt cx="4857750" cy="4689475"/>
          </a:xfrm>
        </p:grpSpPr>
        <p:sp>
          <p:nvSpPr>
            <p:cNvPr id="47" name="Rectangle 5">
              <a:extLst>
                <a:ext uri="{FF2B5EF4-FFF2-40B4-BE49-F238E27FC236}">
                  <a16:creationId xmlns:a16="http://schemas.microsoft.com/office/drawing/2014/main" id="{70038CB5-439D-4027-A4FD-9A67F74AA2D0}"/>
                </a:ext>
              </a:extLst>
            </p:cNvPr>
            <p:cNvSpPr>
              <a:spLocks noChangeArrowheads="1"/>
            </p:cNvSpPr>
            <p:nvPr/>
          </p:nvSpPr>
          <p:spPr bwMode="auto">
            <a:xfrm>
              <a:off x="8497023" y="3563394"/>
              <a:ext cx="134331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spcBef>
                  <a:spcPct val="0"/>
                </a:spcBef>
                <a:spcAft>
                  <a:spcPct val="0"/>
                </a:spcAft>
                <a:buClrTx/>
                <a:buSzTx/>
                <a:buFontTx/>
                <a:buNone/>
                <a:tabLst/>
              </a:pPr>
              <a:r>
                <a:rPr lang="en-US" altLang="en-US" sz="2400" dirty="0">
                  <a:solidFill>
                    <a:schemeClr val="tx2"/>
                  </a:solidFill>
                  <a:latin typeface="+mj-lt"/>
                </a:rPr>
                <a:t>Threat</a:t>
              </a:r>
            </a:p>
            <a:p>
              <a:pPr algn="ctr" defTabSz="914400"/>
              <a:r>
                <a:rPr lang="en-US" altLang="en-US" sz="2400" dirty="0">
                  <a:solidFill>
                    <a:schemeClr val="tx2"/>
                  </a:solidFill>
                  <a:latin typeface="+mj-lt"/>
                </a:rPr>
                <a:t>modeling</a:t>
              </a:r>
            </a:p>
          </p:txBody>
        </p:sp>
        <p:sp>
          <p:nvSpPr>
            <p:cNvPr id="49" name="Freeform 38">
              <a:extLst>
                <a:ext uri="{FF2B5EF4-FFF2-40B4-BE49-F238E27FC236}">
                  <a16:creationId xmlns:a16="http://schemas.microsoft.com/office/drawing/2014/main" id="{1A5BA2AB-A499-4D2A-B71A-7599EB32DB11}"/>
                </a:ext>
              </a:extLst>
            </p:cNvPr>
            <p:cNvSpPr>
              <a:spLocks/>
            </p:cNvSpPr>
            <p:nvPr/>
          </p:nvSpPr>
          <p:spPr bwMode="auto">
            <a:xfrm>
              <a:off x="6749823" y="2837352"/>
              <a:ext cx="1416050" cy="1417637"/>
            </a:xfrm>
            <a:prstGeom prst="ellipse">
              <a:avLst/>
            </a:prstGeom>
            <a:solidFill>
              <a:srgbClr val="243A5E"/>
            </a:solidFill>
            <a:ln w="9525">
              <a:noFill/>
              <a:round/>
              <a:headEnd/>
              <a:tailEnd/>
            </a:ln>
          </p:spPr>
          <p:txBody>
            <a:bodyPr vert="horz" wrap="square" lIns="0" tIns="0" rIns="0" bIns="0" numCol="1" anchor="ctr" anchorCtr="0" compatLnSpc="1">
              <a:prstTxWarp prst="textNoShape">
                <a:avLst/>
              </a:prstTxWarp>
            </a:bodyPr>
            <a:lstStyle/>
            <a:p>
              <a:pPr algn="ctr"/>
              <a:r>
                <a:rPr lang="en-US" dirty="0">
                  <a:solidFill>
                    <a:schemeClr val="bg1"/>
                  </a:solidFill>
                  <a:latin typeface="+mj-lt"/>
                </a:rPr>
                <a:t>1.</a:t>
              </a:r>
              <a:br>
                <a:rPr lang="en-US" dirty="0">
                  <a:solidFill>
                    <a:schemeClr val="bg1"/>
                  </a:solidFill>
                  <a:latin typeface="+mj-lt"/>
                </a:rPr>
              </a:br>
              <a:r>
                <a:rPr lang="en-US" dirty="0">
                  <a:solidFill>
                    <a:schemeClr val="bg1"/>
                  </a:solidFill>
                  <a:latin typeface="+mj-lt"/>
                </a:rPr>
                <a:t>Define</a:t>
              </a:r>
            </a:p>
          </p:txBody>
        </p:sp>
        <p:sp>
          <p:nvSpPr>
            <p:cNvPr id="50" name="Arc 49">
              <a:extLst>
                <a:ext uri="{FF2B5EF4-FFF2-40B4-BE49-F238E27FC236}">
                  <a16:creationId xmlns:a16="http://schemas.microsoft.com/office/drawing/2014/main" id="{18AD5B34-8B48-4DA3-8F03-75BE64FC0A7C}"/>
                </a:ext>
              </a:extLst>
            </p:cNvPr>
            <p:cNvSpPr/>
            <p:nvPr/>
          </p:nvSpPr>
          <p:spPr bwMode="auto">
            <a:xfrm>
              <a:off x="7415362" y="2165525"/>
              <a:ext cx="3506638" cy="3514122"/>
            </a:xfrm>
            <a:prstGeom prst="arc">
              <a:avLst>
                <a:gd name="adj1" fmla="val 12936003"/>
                <a:gd name="adj2" fmla="val 14746992"/>
              </a:avLst>
            </a:prstGeom>
            <a:noFill/>
            <a:ln w="19050">
              <a:solidFill>
                <a:schemeClr val="bg1">
                  <a:lumMod val="50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1" name="Freeform 22">
              <a:extLst>
                <a:ext uri="{FF2B5EF4-FFF2-40B4-BE49-F238E27FC236}">
                  <a16:creationId xmlns:a16="http://schemas.microsoft.com/office/drawing/2014/main" id="{8F6D93D6-3190-4479-8124-205BD0F33C33}"/>
                </a:ext>
              </a:extLst>
            </p:cNvPr>
            <p:cNvSpPr>
              <a:spLocks/>
            </p:cNvSpPr>
            <p:nvPr/>
          </p:nvSpPr>
          <p:spPr bwMode="auto">
            <a:xfrm>
              <a:off x="8480198" y="1587989"/>
              <a:ext cx="1416050" cy="1416050"/>
            </a:xfrm>
            <a:prstGeom prst="ellipse">
              <a:avLst/>
            </a:prstGeom>
            <a:solidFill>
              <a:srgbClr val="243A5E"/>
            </a:solidFill>
            <a:ln w="9525">
              <a:noFill/>
              <a:round/>
              <a:headEnd/>
              <a:tailEnd/>
            </a:ln>
          </p:spPr>
          <p:txBody>
            <a:bodyPr vert="horz" wrap="square" lIns="0" tIns="0" rIns="0" bIns="0" numCol="1" anchor="ctr" anchorCtr="0" compatLnSpc="1">
              <a:prstTxWarp prst="textNoShape">
                <a:avLst/>
              </a:prstTxWarp>
            </a:bodyPr>
            <a:lstStyle/>
            <a:p>
              <a:pPr algn="ctr"/>
              <a:r>
                <a:rPr lang="en-US" dirty="0">
                  <a:solidFill>
                    <a:schemeClr val="bg1"/>
                  </a:solidFill>
                  <a:latin typeface="+mj-lt"/>
                </a:rPr>
                <a:t>2. Diagram</a:t>
              </a:r>
            </a:p>
          </p:txBody>
        </p:sp>
        <p:sp>
          <p:nvSpPr>
            <p:cNvPr id="52" name="Arc 51">
              <a:extLst>
                <a:ext uri="{FF2B5EF4-FFF2-40B4-BE49-F238E27FC236}">
                  <a16:creationId xmlns:a16="http://schemas.microsoft.com/office/drawing/2014/main" id="{551CBF44-353B-4F16-BD69-691E730D37B2}"/>
                </a:ext>
              </a:extLst>
            </p:cNvPr>
            <p:cNvSpPr/>
            <p:nvPr/>
          </p:nvSpPr>
          <p:spPr bwMode="auto">
            <a:xfrm>
              <a:off x="7415362" y="2165525"/>
              <a:ext cx="3506638" cy="3514122"/>
            </a:xfrm>
            <a:prstGeom prst="arc">
              <a:avLst>
                <a:gd name="adj1" fmla="val 17614205"/>
                <a:gd name="adj2" fmla="val 19423285"/>
              </a:avLst>
            </a:prstGeom>
            <a:noFill/>
            <a:ln w="19050">
              <a:solidFill>
                <a:schemeClr val="bg1">
                  <a:lumMod val="50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26">
              <a:extLst>
                <a:ext uri="{FF2B5EF4-FFF2-40B4-BE49-F238E27FC236}">
                  <a16:creationId xmlns:a16="http://schemas.microsoft.com/office/drawing/2014/main" id="{B781659C-5E63-4540-9B4F-ACE51FBF3ED2}"/>
                </a:ext>
              </a:extLst>
            </p:cNvPr>
            <p:cNvSpPr>
              <a:spLocks/>
            </p:cNvSpPr>
            <p:nvPr/>
          </p:nvSpPr>
          <p:spPr bwMode="auto">
            <a:xfrm>
              <a:off x="10193111" y="2837352"/>
              <a:ext cx="1414462" cy="1417637"/>
            </a:xfrm>
            <a:prstGeom prst="ellipse">
              <a:avLst/>
            </a:prstGeom>
            <a:solidFill>
              <a:srgbClr val="243A5E"/>
            </a:solidFill>
            <a:ln w="9525">
              <a:noFill/>
              <a:round/>
              <a:headEnd/>
              <a:tailEnd/>
            </a:ln>
          </p:spPr>
          <p:txBody>
            <a:bodyPr vert="horz" wrap="square" lIns="0" tIns="0" rIns="0" bIns="0" numCol="1" anchor="ctr" anchorCtr="0" compatLnSpc="1">
              <a:prstTxWarp prst="textNoShape">
                <a:avLst/>
              </a:prstTxWarp>
            </a:bodyPr>
            <a:lstStyle/>
            <a:p>
              <a:pPr algn="ctr"/>
              <a:r>
                <a:rPr lang="en-US">
                  <a:solidFill>
                    <a:schemeClr val="bg1"/>
                  </a:solidFill>
                  <a:latin typeface="+mj-lt"/>
                </a:rPr>
                <a:t>3.</a:t>
              </a:r>
              <a:br>
                <a:rPr lang="en-US">
                  <a:solidFill>
                    <a:schemeClr val="bg1"/>
                  </a:solidFill>
                  <a:latin typeface="+mj-lt"/>
                </a:rPr>
              </a:br>
              <a:r>
                <a:rPr lang="en-US">
                  <a:solidFill>
                    <a:schemeClr val="bg1"/>
                  </a:solidFill>
                  <a:latin typeface="+mj-lt"/>
                </a:rPr>
                <a:t>Identify</a:t>
              </a:r>
            </a:p>
          </p:txBody>
        </p:sp>
        <p:sp>
          <p:nvSpPr>
            <p:cNvPr id="55" name="Arc 54">
              <a:extLst>
                <a:ext uri="{FF2B5EF4-FFF2-40B4-BE49-F238E27FC236}">
                  <a16:creationId xmlns:a16="http://schemas.microsoft.com/office/drawing/2014/main" id="{09E6B76E-72DF-4779-B8D1-A4481CA7F1FE}"/>
                </a:ext>
              </a:extLst>
            </p:cNvPr>
            <p:cNvSpPr/>
            <p:nvPr/>
          </p:nvSpPr>
          <p:spPr bwMode="auto">
            <a:xfrm>
              <a:off x="7415362" y="2165525"/>
              <a:ext cx="3506638" cy="3514122"/>
            </a:xfrm>
            <a:prstGeom prst="arc">
              <a:avLst>
                <a:gd name="adj1" fmla="val 654358"/>
                <a:gd name="adj2" fmla="val 2128620"/>
              </a:avLst>
            </a:prstGeom>
            <a:noFill/>
            <a:ln w="19050">
              <a:solidFill>
                <a:schemeClr val="bg1">
                  <a:lumMod val="50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6" name="Freeform 30">
              <a:extLst>
                <a:ext uri="{FF2B5EF4-FFF2-40B4-BE49-F238E27FC236}">
                  <a16:creationId xmlns:a16="http://schemas.microsoft.com/office/drawing/2014/main" id="{1214CAD0-92A3-499B-8D59-EBAE0F1E60E4}"/>
                </a:ext>
              </a:extLst>
            </p:cNvPr>
            <p:cNvSpPr>
              <a:spLocks/>
            </p:cNvSpPr>
            <p:nvPr/>
          </p:nvSpPr>
          <p:spPr bwMode="auto">
            <a:xfrm>
              <a:off x="9534298" y="4861414"/>
              <a:ext cx="1416050" cy="1416050"/>
            </a:xfrm>
            <a:prstGeom prst="ellipse">
              <a:avLst/>
            </a:prstGeom>
            <a:solidFill>
              <a:srgbClr val="243A5E"/>
            </a:solidFill>
            <a:ln w="9525">
              <a:noFill/>
              <a:round/>
              <a:headEnd/>
              <a:tailEnd/>
            </a:ln>
          </p:spPr>
          <p:txBody>
            <a:bodyPr vert="horz" wrap="square" lIns="0" tIns="0" rIns="0" bIns="0" numCol="1" anchor="ctr" anchorCtr="0" compatLnSpc="1">
              <a:prstTxWarp prst="textNoShape">
                <a:avLst/>
              </a:prstTxWarp>
            </a:bodyPr>
            <a:lstStyle/>
            <a:p>
              <a:pPr algn="ctr"/>
              <a:r>
                <a:rPr lang="en-US">
                  <a:solidFill>
                    <a:schemeClr val="bg1"/>
                  </a:solidFill>
                  <a:latin typeface="+mj-lt"/>
                </a:rPr>
                <a:t>4. Mitigate</a:t>
              </a:r>
            </a:p>
          </p:txBody>
        </p:sp>
        <p:sp>
          <p:nvSpPr>
            <p:cNvPr id="57" name="Arc 56">
              <a:extLst>
                <a:ext uri="{FF2B5EF4-FFF2-40B4-BE49-F238E27FC236}">
                  <a16:creationId xmlns:a16="http://schemas.microsoft.com/office/drawing/2014/main" id="{3DC1A32A-6494-41C8-91F3-DABCFDC3254F}"/>
                </a:ext>
              </a:extLst>
            </p:cNvPr>
            <p:cNvSpPr/>
            <p:nvPr/>
          </p:nvSpPr>
          <p:spPr bwMode="auto">
            <a:xfrm>
              <a:off x="7415362" y="2165525"/>
              <a:ext cx="3506638" cy="3514122"/>
            </a:xfrm>
            <a:prstGeom prst="arc">
              <a:avLst>
                <a:gd name="adj1" fmla="val 4712539"/>
                <a:gd name="adj2" fmla="val 6049632"/>
              </a:avLst>
            </a:prstGeom>
            <a:noFill/>
            <a:ln w="19050">
              <a:solidFill>
                <a:schemeClr val="bg1">
                  <a:lumMod val="50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34">
              <a:extLst>
                <a:ext uri="{FF2B5EF4-FFF2-40B4-BE49-F238E27FC236}">
                  <a16:creationId xmlns:a16="http://schemas.microsoft.com/office/drawing/2014/main" id="{41F06CA8-B9AF-4E5C-BA5D-5E9298DC64C8}"/>
                </a:ext>
              </a:extLst>
            </p:cNvPr>
            <p:cNvSpPr>
              <a:spLocks/>
            </p:cNvSpPr>
            <p:nvPr/>
          </p:nvSpPr>
          <p:spPr bwMode="auto">
            <a:xfrm>
              <a:off x="7407048" y="4861414"/>
              <a:ext cx="1416050" cy="1416050"/>
            </a:xfrm>
            <a:prstGeom prst="ellipse">
              <a:avLst/>
            </a:prstGeom>
            <a:solidFill>
              <a:srgbClr val="243A5E"/>
            </a:solidFill>
            <a:ln w="9525">
              <a:noFill/>
              <a:round/>
              <a:headEnd/>
              <a:tailEnd/>
            </a:ln>
          </p:spPr>
          <p:txBody>
            <a:bodyPr vert="horz" wrap="square" lIns="0" tIns="0" rIns="0" bIns="0" numCol="1" anchor="ctr" anchorCtr="0" compatLnSpc="1">
              <a:prstTxWarp prst="textNoShape">
                <a:avLst/>
              </a:prstTxWarp>
            </a:bodyPr>
            <a:lstStyle/>
            <a:p>
              <a:pPr algn="ctr"/>
              <a:r>
                <a:rPr lang="en-US">
                  <a:solidFill>
                    <a:schemeClr val="bg1"/>
                  </a:solidFill>
                  <a:latin typeface="+mj-lt"/>
                </a:rPr>
                <a:t>5. Validate</a:t>
              </a:r>
            </a:p>
          </p:txBody>
        </p:sp>
        <p:sp>
          <p:nvSpPr>
            <p:cNvPr id="59" name="Arc 58">
              <a:extLst>
                <a:ext uri="{FF2B5EF4-FFF2-40B4-BE49-F238E27FC236}">
                  <a16:creationId xmlns:a16="http://schemas.microsoft.com/office/drawing/2014/main" id="{5B659256-AB2A-4020-AAC2-DE1FF4CAA2A9}"/>
                </a:ext>
              </a:extLst>
            </p:cNvPr>
            <p:cNvSpPr/>
            <p:nvPr/>
          </p:nvSpPr>
          <p:spPr bwMode="auto">
            <a:xfrm>
              <a:off x="7415362" y="2165525"/>
              <a:ext cx="3506638" cy="3514122"/>
            </a:xfrm>
            <a:prstGeom prst="arc">
              <a:avLst>
                <a:gd name="adj1" fmla="val 8692201"/>
                <a:gd name="adj2" fmla="val 10167025"/>
              </a:avLst>
            </a:prstGeom>
            <a:noFill/>
            <a:ln w="19050">
              <a:solidFill>
                <a:schemeClr val="bg1">
                  <a:lumMod val="50000"/>
                </a:schemeClr>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110286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B4FC2-4D4C-4E7B-896F-55914816054D}"/>
              </a:ext>
            </a:extLst>
          </p:cNvPr>
          <p:cNvSpPr>
            <a:spLocks noGrp="1"/>
          </p:cNvSpPr>
          <p:nvPr>
            <p:ph type="title"/>
          </p:nvPr>
        </p:nvSpPr>
        <p:spPr>
          <a:xfrm>
            <a:off x="465138" y="632779"/>
            <a:ext cx="11533187" cy="411162"/>
          </a:xfrm>
        </p:spPr>
        <p:txBody>
          <a:bodyPr/>
          <a:lstStyle/>
          <a:p>
            <a:r>
              <a:rPr lang="en-US" dirty="0"/>
              <a:t>Threat modeling </a:t>
            </a:r>
          </a:p>
        </p:txBody>
      </p:sp>
      <p:sp>
        <p:nvSpPr>
          <p:cNvPr id="5" name="Rectangle 4">
            <a:extLst>
              <a:ext uri="{FF2B5EF4-FFF2-40B4-BE49-F238E27FC236}">
                <a16:creationId xmlns:a16="http://schemas.microsoft.com/office/drawing/2014/main" id="{E52A4129-EAC7-4848-A541-32EB98CE35E8}"/>
              </a:ext>
            </a:extLst>
          </p:cNvPr>
          <p:cNvSpPr/>
          <p:nvPr/>
        </p:nvSpPr>
        <p:spPr>
          <a:xfrm>
            <a:off x="5452643" y="3517982"/>
            <a:ext cx="1531188" cy="646331"/>
          </a:xfrm>
          <a:prstGeom prst="rect">
            <a:avLst/>
          </a:prstGeom>
        </p:spPr>
        <p:txBody>
          <a:bodyPr wrap="square">
            <a:spAutoFit/>
          </a:bodyPr>
          <a:lstStyle/>
          <a:p>
            <a:pPr algn="ctr"/>
            <a:r>
              <a:rPr lang="en-US" sz="3600">
                <a:latin typeface="Segoe UI Semibold" panose="020B0702040204020203" pitchFamily="34" charset="0"/>
                <a:cs typeface="Segoe UI Semibold" panose="020B0702040204020203" pitchFamily="34" charset="0"/>
              </a:rPr>
              <a:t>DEMO</a:t>
            </a:r>
            <a:endParaRPr lang="en-US" sz="200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67714048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a:xfrm>
            <a:off x="427039" y="3275663"/>
            <a:ext cx="9240836" cy="443198"/>
          </a:xfrm>
        </p:spPr>
        <p:txBody>
          <a:bodyPr/>
          <a:lstStyle/>
          <a:p>
            <a:r>
              <a:rPr lang="en-US" dirty="0"/>
              <a:t>Module 02: Implement open-source software</a:t>
            </a:r>
          </a:p>
        </p:txBody>
      </p:sp>
      <p:pic>
        <p:nvPicPr>
          <p:cNvPr id="2" name="Picture 1" descr="Icon of a security lock">
            <a:extLst>
              <a:ext uri="{FF2B5EF4-FFF2-40B4-BE49-F238E27FC236}">
                <a16:creationId xmlns:a16="http://schemas.microsoft.com/office/drawing/2014/main" id="{D88DD85D-FB96-40D7-A723-FF7D1E1F14D3}"/>
              </a:ext>
            </a:extLst>
          </p:cNvPr>
          <p:cNvPicPr>
            <a:picLocks noChangeAspect="1"/>
          </p:cNvPicPr>
          <p:nvPr/>
        </p:nvPicPr>
        <p:blipFill>
          <a:blip r:embed="rId2"/>
          <a:stretch>
            <a:fillRect/>
          </a:stretch>
        </p:blipFill>
        <p:spPr>
          <a:xfrm>
            <a:off x="10381010" y="3021011"/>
            <a:ext cx="952500" cy="952500"/>
          </a:xfrm>
          <a:prstGeom prst="rect">
            <a:avLst/>
          </a:prstGeom>
        </p:spPr>
      </p:pic>
    </p:spTree>
    <p:extLst>
      <p:ext uri="{BB962C8B-B14F-4D97-AF65-F5344CB8AC3E}">
        <p14:creationId xmlns:p14="http://schemas.microsoft.com/office/powerpoint/2010/main" val="10244140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9844D-7543-4B89-A10F-D42A46F7CFF0}"/>
              </a:ext>
            </a:extLst>
          </p:cNvPr>
          <p:cNvSpPr>
            <a:spLocks noGrp="1"/>
          </p:cNvSpPr>
          <p:nvPr>
            <p:ph type="title"/>
          </p:nvPr>
        </p:nvSpPr>
        <p:spPr>
          <a:xfrm>
            <a:off x="465138" y="632779"/>
            <a:ext cx="11533187" cy="411162"/>
          </a:xfrm>
        </p:spPr>
        <p:txBody>
          <a:bodyPr/>
          <a:lstStyle/>
          <a:p>
            <a:r>
              <a:rPr lang="en-US" dirty="0"/>
              <a:t>Explore how software is built</a:t>
            </a:r>
          </a:p>
        </p:txBody>
      </p:sp>
      <p:pic>
        <p:nvPicPr>
          <p:cNvPr id="13" name="Picture 12" descr="Icon of a webpage showing six squares">
            <a:extLst>
              <a:ext uri="{FF2B5EF4-FFF2-40B4-BE49-F238E27FC236}">
                <a16:creationId xmlns:a16="http://schemas.microsoft.com/office/drawing/2014/main" id="{CD9CE989-9F04-4734-8128-89890BAA152B}"/>
              </a:ext>
            </a:extLst>
          </p:cNvPr>
          <p:cNvPicPr>
            <a:picLocks noChangeAspect="1"/>
          </p:cNvPicPr>
          <p:nvPr/>
        </p:nvPicPr>
        <p:blipFill>
          <a:blip r:embed="rId2"/>
          <a:stretch>
            <a:fillRect/>
          </a:stretch>
        </p:blipFill>
        <p:spPr>
          <a:xfrm>
            <a:off x="465138" y="1687442"/>
            <a:ext cx="952500" cy="952500"/>
          </a:xfrm>
          <a:prstGeom prst="rect">
            <a:avLst/>
          </a:prstGeom>
        </p:spPr>
      </p:pic>
      <p:sp>
        <p:nvSpPr>
          <p:cNvPr id="44" name="Rectangle 43">
            <a:extLst>
              <a:ext uri="{FF2B5EF4-FFF2-40B4-BE49-F238E27FC236}">
                <a16:creationId xmlns:a16="http://schemas.microsoft.com/office/drawing/2014/main" id="{A6932B66-3911-43CD-BB70-13C6E830C9B9}"/>
              </a:ext>
            </a:extLst>
          </p:cNvPr>
          <p:cNvSpPr/>
          <p:nvPr/>
        </p:nvSpPr>
        <p:spPr>
          <a:xfrm>
            <a:off x="1689099" y="1687442"/>
            <a:ext cx="10320339" cy="16773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400" dirty="0">
                <a:solidFill>
                  <a:schemeClr val="tx1"/>
                </a:solidFill>
                <a:latin typeface="+mj-lt"/>
              </a:rPr>
              <a:t>Software based 80% on components:</a:t>
            </a:r>
          </a:p>
          <a:p>
            <a:pPr>
              <a:spcBef>
                <a:spcPts val="600"/>
              </a:spcBef>
              <a:spcAft>
                <a:spcPts val="600"/>
              </a:spcAft>
            </a:pPr>
            <a:r>
              <a:rPr lang="en-US" sz="2000" dirty="0">
                <a:solidFill>
                  <a:schemeClr val="tx1"/>
                </a:solidFill>
              </a:rPr>
              <a:t>Internal teams</a:t>
            </a:r>
          </a:p>
          <a:p>
            <a:pPr>
              <a:spcBef>
                <a:spcPts val="600"/>
              </a:spcBef>
              <a:spcAft>
                <a:spcPts val="600"/>
              </a:spcAft>
            </a:pPr>
            <a:r>
              <a:rPr lang="en-US" sz="2000" dirty="0">
                <a:solidFill>
                  <a:schemeClr val="tx1"/>
                </a:solidFill>
              </a:rPr>
              <a:t>Commercial 3</a:t>
            </a:r>
            <a:r>
              <a:rPr lang="en-US" sz="2000" baseline="30000" dirty="0">
                <a:solidFill>
                  <a:schemeClr val="tx1"/>
                </a:solidFill>
              </a:rPr>
              <a:t>rd</a:t>
            </a:r>
            <a:r>
              <a:rPr lang="en-US" sz="2000" dirty="0">
                <a:solidFill>
                  <a:schemeClr val="tx1"/>
                </a:solidFill>
              </a:rPr>
              <a:t> party</a:t>
            </a:r>
          </a:p>
          <a:p>
            <a:pPr>
              <a:spcBef>
                <a:spcPts val="600"/>
              </a:spcBef>
              <a:spcAft>
                <a:spcPts val="600"/>
              </a:spcAft>
            </a:pPr>
            <a:r>
              <a:rPr lang="en-US" sz="2000" dirty="0">
                <a:solidFill>
                  <a:schemeClr val="tx1"/>
                </a:solidFill>
              </a:rPr>
              <a:t>Open-source community</a:t>
            </a:r>
          </a:p>
        </p:txBody>
      </p:sp>
      <p:cxnSp>
        <p:nvCxnSpPr>
          <p:cNvPr id="39" name="Straight Connector 38">
            <a:extLst>
              <a:ext uri="{FF2B5EF4-FFF2-40B4-BE49-F238E27FC236}">
                <a16:creationId xmlns:a16="http://schemas.microsoft.com/office/drawing/2014/main" id="{EEF31729-A47D-4460-B5FF-28C9E0DE0B6D}"/>
              </a:ext>
              <a:ext uri="{C183D7F6-B498-43B3-948B-1728B52AA6E4}">
                <adec:decorative xmlns:adec="http://schemas.microsoft.com/office/drawing/2017/decorative" val="1"/>
              </a:ext>
            </a:extLst>
          </p:cNvPr>
          <p:cNvCxnSpPr>
            <a:cxnSpLocks/>
          </p:cNvCxnSpPr>
          <p:nvPr/>
        </p:nvCxnSpPr>
        <p:spPr>
          <a:xfrm>
            <a:off x="1689100" y="3847803"/>
            <a:ext cx="103203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descr="Icon of three squares and a cloud">
            <a:extLst>
              <a:ext uri="{FF2B5EF4-FFF2-40B4-BE49-F238E27FC236}">
                <a16:creationId xmlns:a16="http://schemas.microsoft.com/office/drawing/2014/main" id="{B00A6087-8C37-46CA-ADC9-DF73D8B175F3}"/>
              </a:ext>
            </a:extLst>
          </p:cNvPr>
          <p:cNvPicPr>
            <a:picLocks noChangeAspect="1"/>
          </p:cNvPicPr>
          <p:nvPr/>
        </p:nvPicPr>
        <p:blipFill>
          <a:blip r:embed="rId3"/>
          <a:stretch>
            <a:fillRect/>
          </a:stretch>
        </p:blipFill>
        <p:spPr>
          <a:xfrm>
            <a:off x="465138" y="4235181"/>
            <a:ext cx="952500" cy="952500"/>
          </a:xfrm>
          <a:prstGeom prst="rect">
            <a:avLst/>
          </a:prstGeom>
        </p:spPr>
      </p:pic>
      <p:sp>
        <p:nvSpPr>
          <p:cNvPr id="66" name="Rectangle 65">
            <a:extLst>
              <a:ext uri="{FF2B5EF4-FFF2-40B4-BE49-F238E27FC236}">
                <a16:creationId xmlns:a16="http://schemas.microsoft.com/office/drawing/2014/main" id="{AD3F0406-9A7B-4F25-8A95-D14D93FCE9ED}"/>
              </a:ext>
            </a:extLst>
          </p:cNvPr>
          <p:cNvSpPr/>
          <p:nvPr/>
        </p:nvSpPr>
        <p:spPr>
          <a:xfrm>
            <a:off x="1689099" y="4330782"/>
            <a:ext cx="10320339" cy="761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nSpc>
                <a:spcPct val="107000"/>
              </a:lnSpc>
              <a:spcAft>
                <a:spcPts val="816"/>
              </a:spcAft>
            </a:pPr>
            <a:r>
              <a:rPr lang="en-US" sz="2400" dirty="0">
                <a:solidFill>
                  <a:schemeClr val="tx1"/>
                </a:solidFill>
              </a:rPr>
              <a:t>Almost all software nowadays uses open-source software in some way, shape, or form</a:t>
            </a:r>
          </a:p>
        </p:txBody>
      </p:sp>
    </p:spTree>
    <p:extLst>
      <p:ext uri="{BB962C8B-B14F-4D97-AF65-F5344CB8AC3E}">
        <p14:creationId xmlns:p14="http://schemas.microsoft.com/office/powerpoint/2010/main" val="233448502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BACA42E1-F40B-456A-8C51-9A6104FE4FDA}"/>
              </a:ext>
            </a:extLst>
          </p:cNvPr>
          <p:cNvSpPr/>
          <p:nvPr/>
        </p:nvSpPr>
        <p:spPr bwMode="auto">
          <a:xfrm>
            <a:off x="883" y="2035834"/>
            <a:ext cx="12434711" cy="51747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567112AF-7AE2-4197-9F38-40C40BC380CE}"/>
              </a:ext>
            </a:extLst>
          </p:cNvPr>
          <p:cNvSpPr>
            <a:spLocks noGrp="1"/>
          </p:cNvSpPr>
          <p:nvPr>
            <p:ph type="title"/>
          </p:nvPr>
        </p:nvSpPr>
        <p:spPr>
          <a:xfrm>
            <a:off x="465138" y="632779"/>
            <a:ext cx="11533187" cy="411162"/>
          </a:xfrm>
        </p:spPr>
        <p:txBody>
          <a:bodyPr anchor="ctr"/>
          <a:lstStyle/>
          <a:p>
            <a:r>
              <a:rPr lang="en-US" dirty="0"/>
              <a:t>What is open-source software?</a:t>
            </a:r>
          </a:p>
        </p:txBody>
      </p:sp>
      <p:sp>
        <p:nvSpPr>
          <p:cNvPr id="13" name="Rectangle 12">
            <a:extLst>
              <a:ext uri="{FF2B5EF4-FFF2-40B4-BE49-F238E27FC236}">
                <a16:creationId xmlns:a16="http://schemas.microsoft.com/office/drawing/2014/main" id="{632D7E5F-4850-41B8-9B31-85418745F29B}"/>
              </a:ext>
            </a:extLst>
          </p:cNvPr>
          <p:cNvSpPr/>
          <p:nvPr/>
        </p:nvSpPr>
        <p:spPr>
          <a:xfrm>
            <a:off x="465138" y="1266476"/>
            <a:ext cx="11519690" cy="553998"/>
          </a:xfrm>
          <a:prstGeom prst="rect">
            <a:avLst/>
          </a:prstGeom>
        </p:spPr>
        <p:txBody>
          <a:bodyPr wrap="square" lIns="0" tIns="0" rIns="0" bIns="0">
            <a:spAutoFit/>
          </a:bodyPr>
          <a:lstStyle/>
          <a:p>
            <a:r>
              <a:rPr lang="en-US" i="1" dirty="0"/>
              <a:t>“Open-source software is a type of computer software in which source code is released under a license in which the copyright holder grants users the rights to study, change, and distribute the software to anyone and for any purpose.”</a:t>
            </a:r>
          </a:p>
        </p:txBody>
      </p:sp>
      <p:sp>
        <p:nvSpPr>
          <p:cNvPr id="157" name="Rectangle 156">
            <a:extLst>
              <a:ext uri="{FF2B5EF4-FFF2-40B4-BE49-F238E27FC236}">
                <a16:creationId xmlns:a16="http://schemas.microsoft.com/office/drawing/2014/main" id="{6D317192-39EC-42F1-BC43-BEC313A848C5}"/>
              </a:ext>
            </a:extLst>
          </p:cNvPr>
          <p:cNvSpPr/>
          <p:nvPr/>
        </p:nvSpPr>
        <p:spPr>
          <a:xfrm>
            <a:off x="6675753" y="2854909"/>
            <a:ext cx="2285676" cy="812749"/>
          </a:xfrm>
          <a:prstGeom prst="rect">
            <a:avLst/>
          </a:prstGeom>
        </p:spPr>
        <p:txBody>
          <a:bodyPr vert="horz" wrap="square" lIns="0" tIns="0" rIns="0" bIns="0">
            <a:spAutoFit/>
          </a:bodyPr>
          <a:lstStyle/>
          <a:p>
            <a:pPr defTabSz="932205" eaLnBrk="0" hangingPunct="0">
              <a:lnSpc>
                <a:spcPct val="90000"/>
              </a:lnSpc>
              <a:spcBef>
                <a:spcPts val="600"/>
              </a:spcBef>
              <a:defRPr/>
            </a:pPr>
            <a:r>
              <a:rPr lang="en-US" sz="2800" kern="0" dirty="0">
                <a:gradFill>
                  <a:gsLst>
                    <a:gs pos="17486">
                      <a:srgbClr val="0078D7"/>
                    </a:gs>
                    <a:gs pos="28962">
                      <a:srgbClr val="0078D7"/>
                    </a:gs>
                  </a:gsLst>
                  <a:lin ang="5400000" scaled="0"/>
                </a:gradFill>
                <a:latin typeface="Segoe UI Semilight"/>
                <a:ea typeface="ＭＳ Ｐゴシック" charset="0"/>
              </a:rPr>
              <a:t>Release</a:t>
            </a:r>
          </a:p>
          <a:p>
            <a:pPr defTabSz="932205">
              <a:lnSpc>
                <a:spcPct val="90000"/>
              </a:lnSpc>
              <a:spcBef>
                <a:spcPts val="600"/>
              </a:spcBef>
              <a:defRPr/>
            </a:pPr>
            <a:r>
              <a:rPr lang="en-US" sz="1199" kern="0" dirty="0">
                <a:gradFill>
                  <a:gsLst>
                    <a:gs pos="28962">
                      <a:srgbClr val="353535"/>
                    </a:gs>
                    <a:gs pos="48000">
                      <a:srgbClr val="353535"/>
                    </a:gs>
                  </a:gsLst>
                  <a:lin ang="5400000" scaled="0"/>
                </a:gradFill>
                <a:latin typeface="Segoe UI"/>
              </a:rPr>
              <a:t>innovative technologies as open source</a:t>
            </a:r>
          </a:p>
        </p:txBody>
      </p:sp>
      <p:sp>
        <p:nvSpPr>
          <p:cNvPr id="158" name="Rectangle 157">
            <a:extLst>
              <a:ext uri="{FF2B5EF4-FFF2-40B4-BE49-F238E27FC236}">
                <a16:creationId xmlns:a16="http://schemas.microsoft.com/office/drawing/2014/main" id="{7E0EBFC7-D6D6-463F-A22A-306298A049FB}"/>
              </a:ext>
            </a:extLst>
          </p:cNvPr>
          <p:cNvSpPr/>
          <p:nvPr/>
        </p:nvSpPr>
        <p:spPr>
          <a:xfrm>
            <a:off x="6675753" y="3977308"/>
            <a:ext cx="2221677" cy="1154590"/>
          </a:xfrm>
          <a:prstGeom prst="rect">
            <a:avLst/>
          </a:prstGeom>
        </p:spPr>
        <p:txBody>
          <a:bodyPr wrap="square" lIns="0" tIns="0" rIns="0" bIns="0" numCol="2" spcCol="91440">
            <a:noAutofit/>
          </a:bodyPr>
          <a:lstStyle/>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Draft</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R Server</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NET Cor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CNTK</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Brigad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TypeScript</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F#</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PowerShell</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ACS Engin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Graph Engin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Visual Studio Code</a:t>
            </a:r>
          </a:p>
          <a:p>
            <a:pPr algn="ctr" defTabSz="932418">
              <a:lnSpc>
                <a:spcPct val="90000"/>
              </a:lnSpc>
              <a:spcBef>
                <a:spcPts val="200"/>
              </a:spcBef>
              <a:defRPr/>
            </a:pPr>
            <a:r>
              <a:rPr lang="en-US" sz="1000" kern="0" dirty="0">
                <a:gradFill>
                  <a:gsLst>
                    <a:gs pos="28962">
                      <a:srgbClr val="353535"/>
                    </a:gs>
                    <a:gs pos="48000">
                      <a:srgbClr val="353535"/>
                    </a:gs>
                  </a:gsLst>
                  <a:lin ang="5400000" scaled="0"/>
                </a:gradFill>
                <a:latin typeface="Consolas" panose="020B0609020204030204" pitchFamily="49" charset="0"/>
              </a:rPr>
              <a:t>Office UI Fabric</a:t>
            </a:r>
          </a:p>
          <a:p>
            <a:pPr algn="ctr" defTabSz="932418">
              <a:lnSpc>
                <a:spcPct val="90000"/>
              </a:lnSpc>
              <a:spcBef>
                <a:spcPts val="200"/>
              </a:spcBef>
              <a:defRPr/>
            </a:pPr>
            <a:r>
              <a:rPr lang="en-US" sz="1000" kern="0" dirty="0" err="1">
                <a:gradFill>
                  <a:gsLst>
                    <a:gs pos="28962">
                      <a:srgbClr val="353535"/>
                    </a:gs>
                    <a:gs pos="48000">
                      <a:srgbClr val="353535"/>
                    </a:gs>
                  </a:gsLst>
                  <a:lin ang="5400000" scaled="0"/>
                </a:gradFill>
                <a:latin typeface="Consolas" panose="020B0609020204030204" pitchFamily="49" charset="0"/>
              </a:rPr>
              <a:t>SONiC</a:t>
            </a:r>
            <a:endParaRPr lang="en-US" sz="1000" kern="0" dirty="0">
              <a:gradFill>
                <a:gsLst>
                  <a:gs pos="28962">
                    <a:srgbClr val="353535"/>
                  </a:gs>
                  <a:gs pos="48000">
                    <a:srgbClr val="353535"/>
                  </a:gs>
                </a:gsLst>
                <a:lin ang="5400000" scaled="0"/>
              </a:gradFill>
              <a:latin typeface="Consolas" panose="020B0609020204030204" pitchFamily="49" charset="0"/>
            </a:endParaRPr>
          </a:p>
        </p:txBody>
      </p:sp>
      <p:sp>
        <p:nvSpPr>
          <p:cNvPr id="159" name="Freeform 719">
            <a:extLst>
              <a:ext uri="{FF2B5EF4-FFF2-40B4-BE49-F238E27FC236}">
                <a16:creationId xmlns:a16="http://schemas.microsoft.com/office/drawing/2014/main" id="{AC876C8A-632F-4E1F-AFE4-F05C0BF7EAA0}"/>
              </a:ext>
            </a:extLst>
          </p:cNvPr>
          <p:cNvSpPr>
            <a:spLocks noEditPoints="1"/>
          </p:cNvSpPr>
          <p:nvPr/>
        </p:nvSpPr>
        <p:spPr bwMode="auto">
          <a:xfrm>
            <a:off x="6675753" y="2238382"/>
            <a:ext cx="399301" cy="276440"/>
          </a:xfrm>
          <a:custGeom>
            <a:avLst/>
            <a:gdLst>
              <a:gd name="T0" fmla="*/ 88 w 208"/>
              <a:gd name="T1" fmla="*/ 16 h 144"/>
              <a:gd name="T2" fmla="*/ 64 w 208"/>
              <a:gd name="T3" fmla="*/ 41 h 144"/>
              <a:gd name="T4" fmla="*/ 60 w 208"/>
              <a:gd name="T5" fmla="*/ 70 h 144"/>
              <a:gd name="T6" fmla="*/ 48 w 208"/>
              <a:gd name="T7" fmla="*/ 66 h 144"/>
              <a:gd name="T8" fmla="*/ 33 w 208"/>
              <a:gd name="T9" fmla="*/ 68 h 144"/>
              <a:gd name="T10" fmla="*/ 16 w 208"/>
              <a:gd name="T11" fmla="*/ 85 h 144"/>
              <a:gd name="T12" fmla="*/ 16 w 208"/>
              <a:gd name="T13" fmla="*/ 110 h 144"/>
              <a:gd name="T14" fmla="*/ 33 w 208"/>
              <a:gd name="T15" fmla="*/ 129 h 144"/>
              <a:gd name="T16" fmla="*/ 152 w 208"/>
              <a:gd name="T17" fmla="*/ 131 h 144"/>
              <a:gd name="T18" fmla="*/ 181 w 208"/>
              <a:gd name="T19" fmla="*/ 118 h 144"/>
              <a:gd name="T20" fmla="*/ 194 w 208"/>
              <a:gd name="T21" fmla="*/ 89 h 144"/>
              <a:gd name="T22" fmla="*/ 181 w 208"/>
              <a:gd name="T23" fmla="*/ 58 h 144"/>
              <a:gd name="T24" fmla="*/ 165 w 208"/>
              <a:gd name="T25" fmla="*/ 48 h 144"/>
              <a:gd name="T26" fmla="*/ 152 w 208"/>
              <a:gd name="T27" fmla="*/ 47 h 144"/>
              <a:gd name="T28" fmla="*/ 146 w 208"/>
              <a:gd name="T29" fmla="*/ 41 h 144"/>
              <a:gd name="T30" fmla="*/ 138 w 208"/>
              <a:gd name="T31" fmla="*/ 31 h 144"/>
              <a:gd name="T32" fmla="*/ 119 w 208"/>
              <a:gd name="T33" fmla="*/ 16 h 144"/>
              <a:gd name="T34" fmla="*/ 104 w 208"/>
              <a:gd name="T35" fmla="*/ 14 h 144"/>
              <a:gd name="T36" fmla="*/ 94 w 208"/>
              <a:gd name="T37" fmla="*/ 0 h 144"/>
              <a:gd name="T38" fmla="*/ 119 w 208"/>
              <a:gd name="T39" fmla="*/ 2 h 144"/>
              <a:gd name="T40" fmla="*/ 138 w 208"/>
              <a:gd name="T41" fmla="*/ 10 h 144"/>
              <a:gd name="T42" fmla="*/ 150 w 208"/>
              <a:gd name="T43" fmla="*/ 25 h 144"/>
              <a:gd name="T44" fmla="*/ 161 w 208"/>
              <a:gd name="T45" fmla="*/ 33 h 144"/>
              <a:gd name="T46" fmla="*/ 175 w 208"/>
              <a:gd name="T47" fmla="*/ 39 h 144"/>
              <a:gd name="T48" fmla="*/ 202 w 208"/>
              <a:gd name="T49" fmla="*/ 66 h 144"/>
              <a:gd name="T50" fmla="*/ 208 w 208"/>
              <a:gd name="T51" fmla="*/ 89 h 144"/>
              <a:gd name="T52" fmla="*/ 202 w 208"/>
              <a:gd name="T53" fmla="*/ 112 h 144"/>
              <a:gd name="T54" fmla="*/ 175 w 208"/>
              <a:gd name="T55" fmla="*/ 139 h 144"/>
              <a:gd name="T56" fmla="*/ 152 w 208"/>
              <a:gd name="T57" fmla="*/ 144 h 144"/>
              <a:gd name="T58" fmla="*/ 29 w 208"/>
              <a:gd name="T59" fmla="*/ 141 h 144"/>
              <a:gd name="T60" fmla="*/ 12 w 208"/>
              <a:gd name="T61" fmla="*/ 131 h 144"/>
              <a:gd name="T62" fmla="*/ 2 w 208"/>
              <a:gd name="T63" fmla="*/ 114 h 144"/>
              <a:gd name="T64" fmla="*/ 2 w 208"/>
              <a:gd name="T65" fmla="*/ 83 h 144"/>
              <a:gd name="T66" fmla="*/ 12 w 208"/>
              <a:gd name="T67" fmla="*/ 66 h 144"/>
              <a:gd name="T68" fmla="*/ 29 w 208"/>
              <a:gd name="T69" fmla="*/ 54 h 144"/>
              <a:gd name="T70" fmla="*/ 46 w 208"/>
              <a:gd name="T71" fmla="*/ 52 h 144"/>
              <a:gd name="T72" fmla="*/ 50 w 208"/>
              <a:gd name="T73" fmla="*/ 39 h 144"/>
              <a:gd name="T74" fmla="*/ 62 w 208"/>
              <a:gd name="T75" fmla="*/ 18 h 144"/>
              <a:gd name="T76" fmla="*/ 83 w 208"/>
              <a:gd name="T77" fmla="*/ 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144">
                <a:moveTo>
                  <a:pt x="94" y="14"/>
                </a:moveTo>
                <a:lnTo>
                  <a:pt x="88" y="16"/>
                </a:lnTo>
                <a:lnTo>
                  <a:pt x="71" y="27"/>
                </a:lnTo>
                <a:lnTo>
                  <a:pt x="64" y="41"/>
                </a:lnTo>
                <a:lnTo>
                  <a:pt x="60" y="48"/>
                </a:lnTo>
                <a:lnTo>
                  <a:pt x="60" y="70"/>
                </a:lnTo>
                <a:lnTo>
                  <a:pt x="52" y="68"/>
                </a:lnTo>
                <a:lnTo>
                  <a:pt x="48" y="66"/>
                </a:lnTo>
                <a:lnTo>
                  <a:pt x="44" y="66"/>
                </a:lnTo>
                <a:lnTo>
                  <a:pt x="33" y="68"/>
                </a:lnTo>
                <a:lnTo>
                  <a:pt x="21" y="75"/>
                </a:lnTo>
                <a:lnTo>
                  <a:pt x="16" y="85"/>
                </a:lnTo>
                <a:lnTo>
                  <a:pt x="14" y="98"/>
                </a:lnTo>
                <a:lnTo>
                  <a:pt x="16" y="110"/>
                </a:lnTo>
                <a:lnTo>
                  <a:pt x="21" y="121"/>
                </a:lnTo>
                <a:lnTo>
                  <a:pt x="33" y="129"/>
                </a:lnTo>
                <a:lnTo>
                  <a:pt x="44" y="131"/>
                </a:lnTo>
                <a:lnTo>
                  <a:pt x="152" y="131"/>
                </a:lnTo>
                <a:lnTo>
                  <a:pt x="167" y="127"/>
                </a:lnTo>
                <a:lnTo>
                  <a:pt x="181" y="118"/>
                </a:lnTo>
                <a:lnTo>
                  <a:pt x="190" y="104"/>
                </a:lnTo>
                <a:lnTo>
                  <a:pt x="194" y="89"/>
                </a:lnTo>
                <a:lnTo>
                  <a:pt x="190" y="73"/>
                </a:lnTo>
                <a:lnTo>
                  <a:pt x="181" y="58"/>
                </a:lnTo>
                <a:lnTo>
                  <a:pt x="165" y="48"/>
                </a:lnTo>
                <a:lnTo>
                  <a:pt x="165" y="48"/>
                </a:lnTo>
                <a:lnTo>
                  <a:pt x="161" y="47"/>
                </a:lnTo>
                <a:lnTo>
                  <a:pt x="152" y="47"/>
                </a:lnTo>
                <a:lnTo>
                  <a:pt x="148" y="45"/>
                </a:lnTo>
                <a:lnTo>
                  <a:pt x="146" y="41"/>
                </a:lnTo>
                <a:lnTo>
                  <a:pt x="140" y="29"/>
                </a:lnTo>
                <a:lnTo>
                  <a:pt x="138" y="31"/>
                </a:lnTo>
                <a:lnTo>
                  <a:pt x="129" y="20"/>
                </a:lnTo>
                <a:lnTo>
                  <a:pt x="119" y="16"/>
                </a:lnTo>
                <a:lnTo>
                  <a:pt x="119" y="16"/>
                </a:lnTo>
                <a:lnTo>
                  <a:pt x="104" y="14"/>
                </a:lnTo>
                <a:lnTo>
                  <a:pt x="94" y="14"/>
                </a:lnTo>
                <a:close/>
                <a:moveTo>
                  <a:pt x="94" y="0"/>
                </a:moveTo>
                <a:lnTo>
                  <a:pt x="104" y="0"/>
                </a:lnTo>
                <a:lnTo>
                  <a:pt x="119" y="2"/>
                </a:lnTo>
                <a:lnTo>
                  <a:pt x="125" y="4"/>
                </a:lnTo>
                <a:lnTo>
                  <a:pt x="138" y="10"/>
                </a:lnTo>
                <a:lnTo>
                  <a:pt x="148" y="22"/>
                </a:lnTo>
                <a:lnTo>
                  <a:pt x="150" y="25"/>
                </a:lnTo>
                <a:lnTo>
                  <a:pt x="156" y="33"/>
                </a:lnTo>
                <a:lnTo>
                  <a:pt x="161" y="33"/>
                </a:lnTo>
                <a:lnTo>
                  <a:pt x="171" y="37"/>
                </a:lnTo>
                <a:lnTo>
                  <a:pt x="175" y="39"/>
                </a:lnTo>
                <a:lnTo>
                  <a:pt x="190" y="48"/>
                </a:lnTo>
                <a:lnTo>
                  <a:pt x="202" y="66"/>
                </a:lnTo>
                <a:lnTo>
                  <a:pt x="204" y="70"/>
                </a:lnTo>
                <a:lnTo>
                  <a:pt x="208" y="89"/>
                </a:lnTo>
                <a:lnTo>
                  <a:pt x="204" y="108"/>
                </a:lnTo>
                <a:lnTo>
                  <a:pt x="202" y="112"/>
                </a:lnTo>
                <a:lnTo>
                  <a:pt x="190" y="127"/>
                </a:lnTo>
                <a:lnTo>
                  <a:pt x="175" y="139"/>
                </a:lnTo>
                <a:lnTo>
                  <a:pt x="171" y="141"/>
                </a:lnTo>
                <a:lnTo>
                  <a:pt x="152" y="144"/>
                </a:lnTo>
                <a:lnTo>
                  <a:pt x="44" y="144"/>
                </a:lnTo>
                <a:lnTo>
                  <a:pt x="29" y="141"/>
                </a:lnTo>
                <a:lnTo>
                  <a:pt x="25" y="139"/>
                </a:lnTo>
                <a:lnTo>
                  <a:pt x="12" y="131"/>
                </a:lnTo>
                <a:lnTo>
                  <a:pt x="4" y="118"/>
                </a:lnTo>
                <a:lnTo>
                  <a:pt x="2" y="114"/>
                </a:lnTo>
                <a:lnTo>
                  <a:pt x="0" y="98"/>
                </a:lnTo>
                <a:lnTo>
                  <a:pt x="2" y="83"/>
                </a:lnTo>
                <a:lnTo>
                  <a:pt x="4" y="77"/>
                </a:lnTo>
                <a:lnTo>
                  <a:pt x="12" y="66"/>
                </a:lnTo>
                <a:lnTo>
                  <a:pt x="25" y="56"/>
                </a:lnTo>
                <a:lnTo>
                  <a:pt x="29" y="54"/>
                </a:lnTo>
                <a:lnTo>
                  <a:pt x="44" y="52"/>
                </a:lnTo>
                <a:lnTo>
                  <a:pt x="46" y="52"/>
                </a:lnTo>
                <a:lnTo>
                  <a:pt x="46" y="48"/>
                </a:lnTo>
                <a:lnTo>
                  <a:pt x="50" y="39"/>
                </a:lnTo>
                <a:lnTo>
                  <a:pt x="52" y="33"/>
                </a:lnTo>
                <a:lnTo>
                  <a:pt x="62" y="18"/>
                </a:lnTo>
                <a:lnTo>
                  <a:pt x="79" y="6"/>
                </a:lnTo>
                <a:lnTo>
                  <a:pt x="83" y="4"/>
                </a:lnTo>
                <a:lnTo>
                  <a:pt x="94" y="0"/>
                </a:lnTo>
                <a:close/>
              </a:path>
            </a:pathLst>
          </a:custGeom>
          <a:solidFill>
            <a:schemeClr val="tx1"/>
          </a:solidFill>
          <a:ln w="0">
            <a:noFill/>
            <a:prstDash val="solid"/>
            <a:round/>
            <a:headEnd/>
            <a:tailEnd/>
          </a:ln>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cxnSp>
        <p:nvCxnSpPr>
          <p:cNvPr id="160" name="Straight Connector 159">
            <a:extLst>
              <a:ext uri="{FF2B5EF4-FFF2-40B4-BE49-F238E27FC236}">
                <a16:creationId xmlns:a16="http://schemas.microsoft.com/office/drawing/2014/main" id="{6E1D7998-8F1A-41DF-941F-9F302A01D54D}"/>
              </a:ext>
            </a:extLst>
          </p:cNvPr>
          <p:cNvCxnSpPr>
            <a:cxnSpLocks/>
          </p:cNvCxnSpPr>
          <p:nvPr/>
        </p:nvCxnSpPr>
        <p:spPr>
          <a:xfrm>
            <a:off x="3109560" y="2035834"/>
            <a:ext cx="0" cy="4958195"/>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C7E0BF9-F6CB-4803-9D2B-057D5F8E0C55}"/>
              </a:ext>
            </a:extLst>
          </p:cNvPr>
          <p:cNvCxnSpPr>
            <a:cxnSpLocks/>
            <a:stCxn id="155" idx="0"/>
          </p:cNvCxnSpPr>
          <p:nvPr/>
        </p:nvCxnSpPr>
        <p:spPr>
          <a:xfrm flipH="1">
            <a:off x="6218238" y="2035834"/>
            <a:ext cx="1" cy="4958195"/>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F23C9BD3-8CBE-4D60-856D-CCBFFE6DE701}"/>
              </a:ext>
            </a:extLst>
          </p:cNvPr>
          <p:cNvCxnSpPr>
            <a:cxnSpLocks/>
          </p:cNvCxnSpPr>
          <p:nvPr/>
        </p:nvCxnSpPr>
        <p:spPr>
          <a:xfrm>
            <a:off x="9326916" y="2035834"/>
            <a:ext cx="0" cy="4958195"/>
          </a:xfrm>
          <a:prstGeom prst="line">
            <a:avLst/>
          </a:prstGeom>
          <a:ln w="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D1AC78AE-49F7-4D49-9042-F3618CEB9284}"/>
              </a:ext>
            </a:extLst>
          </p:cNvPr>
          <p:cNvSpPr/>
          <p:nvPr/>
        </p:nvSpPr>
        <p:spPr bwMode="auto">
          <a:xfrm>
            <a:off x="880" y="5476836"/>
            <a:ext cx="12434711" cy="151768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b"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040" kern="0">
              <a:solidFill>
                <a:prstClr val="black"/>
              </a:solidFill>
              <a:latin typeface="Segoe UI Light"/>
              <a:ea typeface="Segoe UI" pitchFamily="34" charset="0"/>
              <a:cs typeface="Segoe UI" pitchFamily="34" charset="0"/>
            </a:endParaRPr>
          </a:p>
        </p:txBody>
      </p:sp>
      <p:grpSp>
        <p:nvGrpSpPr>
          <p:cNvPr id="164" name="Group 163">
            <a:extLst>
              <a:ext uri="{FF2B5EF4-FFF2-40B4-BE49-F238E27FC236}">
                <a16:creationId xmlns:a16="http://schemas.microsoft.com/office/drawing/2014/main" id="{75C3A7DA-F8EC-43BD-9A10-6A530B4BE2EA}"/>
              </a:ext>
            </a:extLst>
          </p:cNvPr>
          <p:cNvGrpSpPr/>
          <p:nvPr/>
        </p:nvGrpSpPr>
        <p:grpSpPr>
          <a:xfrm>
            <a:off x="5865146" y="5052000"/>
            <a:ext cx="706178" cy="706178"/>
            <a:chOff x="5829784" y="5105286"/>
            <a:chExt cx="776906" cy="776906"/>
          </a:xfrm>
        </p:grpSpPr>
        <p:sp>
          <p:nvSpPr>
            <p:cNvPr id="165" name="Oval 164">
              <a:extLst>
                <a:ext uri="{FF2B5EF4-FFF2-40B4-BE49-F238E27FC236}">
                  <a16:creationId xmlns:a16="http://schemas.microsoft.com/office/drawing/2014/main" id="{0FF65ACF-4453-433D-BFC6-76B50D6BD344}"/>
                </a:ext>
              </a:extLst>
            </p:cNvPr>
            <p:cNvSpPr/>
            <p:nvPr/>
          </p:nvSpPr>
          <p:spPr bwMode="auto">
            <a:xfrm>
              <a:off x="5829784" y="5105286"/>
              <a:ext cx="776906" cy="776906"/>
            </a:xfrm>
            <a:prstGeom prst="ellipse">
              <a:avLst/>
            </a:prstGeom>
            <a:solidFill>
              <a:schemeClr val="accent1"/>
            </a:solidFill>
            <a:ln w="19050">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66" name="Plus Sign 165">
              <a:extLst>
                <a:ext uri="{FF2B5EF4-FFF2-40B4-BE49-F238E27FC236}">
                  <a16:creationId xmlns:a16="http://schemas.microsoft.com/office/drawing/2014/main" id="{C4F569B0-DC48-4834-BEC2-2611EDC530F6}"/>
                </a:ext>
              </a:extLst>
            </p:cNvPr>
            <p:cNvSpPr/>
            <p:nvPr/>
          </p:nvSpPr>
          <p:spPr bwMode="auto">
            <a:xfrm>
              <a:off x="6008796" y="5294903"/>
              <a:ext cx="418882" cy="397673"/>
            </a:xfrm>
            <a:prstGeom prst="mathPlus">
              <a:avLst>
                <a:gd name="adj1" fmla="val 4153"/>
              </a:avLst>
            </a:prstGeom>
            <a:solidFill>
              <a:schemeClr val="bg1"/>
            </a:solidFill>
            <a:ln w="34925">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67" name="Rectangle 166">
            <a:extLst>
              <a:ext uri="{FF2B5EF4-FFF2-40B4-BE49-F238E27FC236}">
                <a16:creationId xmlns:a16="http://schemas.microsoft.com/office/drawing/2014/main" id="{A19D0A82-4542-407D-BBA6-BC3E632D2EC0}"/>
              </a:ext>
            </a:extLst>
          </p:cNvPr>
          <p:cNvSpPr/>
          <p:nvPr/>
        </p:nvSpPr>
        <p:spPr>
          <a:xfrm>
            <a:off x="9784431" y="2854908"/>
            <a:ext cx="2221677" cy="643372"/>
          </a:xfrm>
          <a:prstGeom prst="rect">
            <a:avLst/>
          </a:prstGeom>
        </p:spPr>
        <p:txBody>
          <a:bodyPr vert="horz" wrap="square" lIns="0" tIns="0" rIns="0" bIns="0">
            <a:spAutoFit/>
          </a:bodyPr>
          <a:lstStyle/>
          <a:p>
            <a:pPr defTabSz="932205" eaLnBrk="0" hangingPunct="0">
              <a:lnSpc>
                <a:spcPct val="90000"/>
              </a:lnSpc>
              <a:spcBef>
                <a:spcPts val="600"/>
              </a:spcBef>
              <a:defRPr/>
            </a:pPr>
            <a:r>
              <a:rPr lang="en-US" sz="2800" kern="0" dirty="0">
                <a:gradFill>
                  <a:gsLst>
                    <a:gs pos="17486">
                      <a:srgbClr val="0078D7"/>
                    </a:gs>
                    <a:gs pos="28962">
                      <a:srgbClr val="0078D7"/>
                    </a:gs>
                  </a:gsLst>
                  <a:lin ang="5400000" scaled="0"/>
                </a:gradFill>
                <a:latin typeface="Segoe UI Semilight"/>
                <a:ea typeface="ＭＳ Ｐゴシック" charset="0"/>
              </a:rPr>
              <a:t>Contribute</a:t>
            </a:r>
          </a:p>
          <a:p>
            <a:pPr defTabSz="932205">
              <a:lnSpc>
                <a:spcPct val="90000"/>
              </a:lnSpc>
              <a:spcBef>
                <a:spcPts val="600"/>
              </a:spcBef>
              <a:defRPr/>
            </a:pPr>
            <a:r>
              <a:rPr lang="en-US" sz="1199" kern="0" dirty="0">
                <a:gradFill>
                  <a:gsLst>
                    <a:gs pos="28962">
                      <a:srgbClr val="353535"/>
                    </a:gs>
                    <a:gs pos="48000">
                      <a:srgbClr val="353535"/>
                    </a:gs>
                  </a:gsLst>
                  <a:lin ang="5400000" scaled="0"/>
                </a:gradFill>
                <a:latin typeface="Segoe UI"/>
              </a:rPr>
              <a:t>to the open-source ecosystem</a:t>
            </a:r>
          </a:p>
        </p:txBody>
      </p:sp>
      <p:sp>
        <p:nvSpPr>
          <p:cNvPr id="168" name="Freeform 36">
            <a:extLst>
              <a:ext uri="{FF2B5EF4-FFF2-40B4-BE49-F238E27FC236}">
                <a16:creationId xmlns:a16="http://schemas.microsoft.com/office/drawing/2014/main" id="{92A8253E-558A-40A0-9D10-83C5CAF0B4F2}"/>
              </a:ext>
            </a:extLst>
          </p:cNvPr>
          <p:cNvSpPr>
            <a:spLocks noChangeAspect="1" noEditPoints="1"/>
          </p:cNvSpPr>
          <p:nvPr/>
        </p:nvSpPr>
        <p:spPr bwMode="auto">
          <a:xfrm>
            <a:off x="9784431" y="2288577"/>
            <a:ext cx="362626" cy="297484"/>
          </a:xfrm>
          <a:custGeom>
            <a:avLst/>
            <a:gdLst>
              <a:gd name="T0" fmla="*/ 92 w 138"/>
              <a:gd name="T1" fmla="*/ 0 h 113"/>
              <a:gd name="T2" fmla="*/ 62 w 138"/>
              <a:gd name="T3" fmla="*/ 6 h 113"/>
              <a:gd name="T4" fmla="*/ 16 w 138"/>
              <a:gd name="T5" fmla="*/ 20 h 113"/>
              <a:gd name="T6" fmla="*/ 25 w 138"/>
              <a:gd name="T7" fmla="*/ 77 h 113"/>
              <a:gd name="T8" fmla="*/ 32 w 138"/>
              <a:gd name="T9" fmla="*/ 87 h 113"/>
              <a:gd name="T10" fmla="*/ 34 w 138"/>
              <a:gd name="T11" fmla="*/ 102 h 113"/>
              <a:gd name="T12" fmla="*/ 47 w 138"/>
              <a:gd name="T13" fmla="*/ 104 h 113"/>
              <a:gd name="T14" fmla="*/ 57 w 138"/>
              <a:gd name="T15" fmla="*/ 110 h 113"/>
              <a:gd name="T16" fmla="*/ 66 w 138"/>
              <a:gd name="T17" fmla="*/ 113 h 113"/>
              <a:gd name="T18" fmla="*/ 76 w 138"/>
              <a:gd name="T19" fmla="*/ 112 h 113"/>
              <a:gd name="T20" fmla="*/ 85 w 138"/>
              <a:gd name="T21" fmla="*/ 110 h 113"/>
              <a:gd name="T22" fmla="*/ 95 w 138"/>
              <a:gd name="T23" fmla="*/ 104 h 113"/>
              <a:gd name="T24" fmla="*/ 108 w 138"/>
              <a:gd name="T25" fmla="*/ 102 h 113"/>
              <a:gd name="T26" fmla="*/ 109 w 138"/>
              <a:gd name="T27" fmla="*/ 88 h 113"/>
              <a:gd name="T28" fmla="*/ 117 w 138"/>
              <a:gd name="T29" fmla="*/ 77 h 113"/>
              <a:gd name="T30" fmla="*/ 125 w 138"/>
              <a:gd name="T31" fmla="*/ 68 h 113"/>
              <a:gd name="T32" fmla="*/ 128 w 138"/>
              <a:gd name="T33" fmla="*/ 18 h 113"/>
              <a:gd name="T34" fmla="*/ 40 w 138"/>
              <a:gd name="T35" fmla="*/ 96 h 113"/>
              <a:gd name="T36" fmla="*/ 40 w 138"/>
              <a:gd name="T37" fmla="*/ 91 h 113"/>
              <a:gd name="T38" fmla="*/ 44 w 138"/>
              <a:gd name="T39" fmla="*/ 96 h 113"/>
              <a:gd name="T40" fmla="*/ 103 w 138"/>
              <a:gd name="T41" fmla="*/ 94 h 113"/>
              <a:gd name="T42" fmla="*/ 98 w 138"/>
              <a:gd name="T43" fmla="*/ 96 h 113"/>
              <a:gd name="T44" fmla="*/ 56 w 138"/>
              <a:gd name="T45" fmla="*/ 66 h 113"/>
              <a:gd name="T46" fmla="*/ 88 w 138"/>
              <a:gd name="T47" fmla="*/ 99 h 113"/>
              <a:gd name="T48" fmla="*/ 82 w 138"/>
              <a:gd name="T49" fmla="*/ 101 h 113"/>
              <a:gd name="T50" fmla="*/ 48 w 138"/>
              <a:gd name="T51" fmla="*/ 67 h 113"/>
              <a:gd name="T52" fmla="*/ 69 w 138"/>
              <a:gd name="T53" fmla="*/ 99 h 113"/>
              <a:gd name="T54" fmla="*/ 69 w 138"/>
              <a:gd name="T55" fmla="*/ 104 h 113"/>
              <a:gd name="T56" fmla="*/ 24 w 138"/>
              <a:gd name="T57" fmla="*/ 64 h 113"/>
              <a:gd name="T58" fmla="*/ 52 w 138"/>
              <a:gd name="T59" fmla="*/ 9 h 113"/>
              <a:gd name="T60" fmla="*/ 46 w 138"/>
              <a:gd name="T61" fmla="*/ 15 h 113"/>
              <a:gd name="T62" fmla="*/ 64 w 138"/>
              <a:gd name="T63" fmla="*/ 31 h 113"/>
              <a:gd name="T64" fmla="*/ 108 w 138"/>
              <a:gd name="T65" fmla="*/ 74 h 113"/>
              <a:gd name="T66" fmla="*/ 109 w 138"/>
              <a:gd name="T67" fmla="*/ 77 h 113"/>
              <a:gd name="T68" fmla="*/ 102 w 138"/>
              <a:gd name="T69" fmla="*/ 80 h 113"/>
              <a:gd name="T70" fmla="*/ 71 w 138"/>
              <a:gd name="T71" fmla="*/ 50 h 113"/>
              <a:gd name="T72" fmla="*/ 102 w 138"/>
              <a:gd name="T73" fmla="*/ 92 h 113"/>
              <a:gd name="T74" fmla="*/ 119 w 138"/>
              <a:gd name="T75" fmla="*/ 63 h 113"/>
              <a:gd name="T76" fmla="*/ 113 w 138"/>
              <a:gd name="T77" fmla="*/ 68 h 113"/>
              <a:gd name="T78" fmla="*/ 77 w 138"/>
              <a:gd name="T79" fmla="*/ 23 h 113"/>
              <a:gd name="T80" fmla="*/ 63 w 138"/>
              <a:gd name="T81" fmla="*/ 23 h 113"/>
              <a:gd name="T82" fmla="*/ 49 w 138"/>
              <a:gd name="T83" fmla="*/ 24 h 113"/>
              <a:gd name="T84" fmla="*/ 58 w 138"/>
              <a:gd name="T85" fmla="*/ 17 h 113"/>
              <a:gd name="T86" fmla="*/ 72 w 138"/>
              <a:gd name="T87" fmla="*/ 10 h 113"/>
              <a:gd name="T88" fmla="*/ 122 w 138"/>
              <a:gd name="T89" fmla="*/ 2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 h="113">
                <a:moveTo>
                  <a:pt x="128" y="18"/>
                </a:moveTo>
                <a:cubicBezTo>
                  <a:pt x="115" y="5"/>
                  <a:pt x="105" y="0"/>
                  <a:pt x="92" y="0"/>
                </a:cubicBezTo>
                <a:cubicBezTo>
                  <a:pt x="85" y="0"/>
                  <a:pt x="79" y="0"/>
                  <a:pt x="70" y="3"/>
                </a:cubicBezTo>
                <a:cubicBezTo>
                  <a:pt x="67" y="4"/>
                  <a:pt x="65" y="4"/>
                  <a:pt x="62" y="6"/>
                </a:cubicBezTo>
                <a:cubicBezTo>
                  <a:pt x="57" y="1"/>
                  <a:pt x="53" y="2"/>
                  <a:pt x="52" y="2"/>
                </a:cubicBezTo>
                <a:cubicBezTo>
                  <a:pt x="39" y="2"/>
                  <a:pt x="28" y="7"/>
                  <a:pt x="16" y="20"/>
                </a:cubicBezTo>
                <a:cubicBezTo>
                  <a:pt x="0" y="35"/>
                  <a:pt x="8" y="59"/>
                  <a:pt x="19" y="70"/>
                </a:cubicBezTo>
                <a:cubicBezTo>
                  <a:pt x="25" y="77"/>
                  <a:pt x="25" y="77"/>
                  <a:pt x="25" y="77"/>
                </a:cubicBezTo>
                <a:cubicBezTo>
                  <a:pt x="26" y="80"/>
                  <a:pt x="27" y="83"/>
                  <a:pt x="29" y="85"/>
                </a:cubicBezTo>
                <a:cubicBezTo>
                  <a:pt x="30" y="86"/>
                  <a:pt x="31" y="87"/>
                  <a:pt x="32" y="87"/>
                </a:cubicBezTo>
                <a:cubicBezTo>
                  <a:pt x="31" y="89"/>
                  <a:pt x="31" y="91"/>
                  <a:pt x="31" y="94"/>
                </a:cubicBezTo>
                <a:cubicBezTo>
                  <a:pt x="31" y="97"/>
                  <a:pt x="32" y="100"/>
                  <a:pt x="34" y="102"/>
                </a:cubicBezTo>
                <a:cubicBezTo>
                  <a:pt x="36" y="104"/>
                  <a:pt x="39" y="105"/>
                  <a:pt x="42" y="105"/>
                </a:cubicBezTo>
                <a:cubicBezTo>
                  <a:pt x="44" y="105"/>
                  <a:pt x="46" y="104"/>
                  <a:pt x="47" y="104"/>
                </a:cubicBezTo>
                <a:cubicBezTo>
                  <a:pt x="48" y="105"/>
                  <a:pt x="48" y="106"/>
                  <a:pt x="49" y="107"/>
                </a:cubicBezTo>
                <a:cubicBezTo>
                  <a:pt x="52" y="109"/>
                  <a:pt x="54" y="110"/>
                  <a:pt x="57" y="110"/>
                </a:cubicBezTo>
                <a:cubicBezTo>
                  <a:pt x="58" y="110"/>
                  <a:pt x="58" y="110"/>
                  <a:pt x="59" y="110"/>
                </a:cubicBezTo>
                <a:cubicBezTo>
                  <a:pt x="61" y="112"/>
                  <a:pt x="63" y="113"/>
                  <a:pt x="66" y="113"/>
                </a:cubicBezTo>
                <a:cubicBezTo>
                  <a:pt x="68" y="113"/>
                  <a:pt x="70" y="112"/>
                  <a:pt x="71" y="112"/>
                </a:cubicBezTo>
                <a:cubicBezTo>
                  <a:pt x="73" y="112"/>
                  <a:pt x="74" y="112"/>
                  <a:pt x="76" y="112"/>
                </a:cubicBezTo>
                <a:cubicBezTo>
                  <a:pt x="78" y="112"/>
                  <a:pt x="80" y="112"/>
                  <a:pt x="82" y="110"/>
                </a:cubicBezTo>
                <a:cubicBezTo>
                  <a:pt x="83" y="110"/>
                  <a:pt x="84" y="110"/>
                  <a:pt x="85" y="110"/>
                </a:cubicBezTo>
                <a:cubicBezTo>
                  <a:pt x="88" y="110"/>
                  <a:pt x="90" y="109"/>
                  <a:pt x="93" y="107"/>
                </a:cubicBezTo>
                <a:cubicBezTo>
                  <a:pt x="94" y="106"/>
                  <a:pt x="94" y="105"/>
                  <a:pt x="95" y="104"/>
                </a:cubicBezTo>
                <a:cubicBezTo>
                  <a:pt x="96" y="105"/>
                  <a:pt x="98" y="105"/>
                  <a:pt x="100" y="105"/>
                </a:cubicBezTo>
                <a:cubicBezTo>
                  <a:pt x="103" y="105"/>
                  <a:pt x="106" y="104"/>
                  <a:pt x="108" y="102"/>
                </a:cubicBezTo>
                <a:cubicBezTo>
                  <a:pt x="110" y="100"/>
                  <a:pt x="111" y="97"/>
                  <a:pt x="111" y="94"/>
                </a:cubicBezTo>
                <a:cubicBezTo>
                  <a:pt x="111" y="92"/>
                  <a:pt x="111" y="90"/>
                  <a:pt x="109" y="88"/>
                </a:cubicBezTo>
                <a:cubicBezTo>
                  <a:pt x="111" y="87"/>
                  <a:pt x="112" y="86"/>
                  <a:pt x="113" y="85"/>
                </a:cubicBezTo>
                <a:cubicBezTo>
                  <a:pt x="115" y="83"/>
                  <a:pt x="116" y="80"/>
                  <a:pt x="117" y="77"/>
                </a:cubicBezTo>
                <a:cubicBezTo>
                  <a:pt x="117" y="77"/>
                  <a:pt x="117" y="77"/>
                  <a:pt x="117" y="76"/>
                </a:cubicBezTo>
                <a:cubicBezTo>
                  <a:pt x="125" y="68"/>
                  <a:pt x="125" y="68"/>
                  <a:pt x="125" y="68"/>
                </a:cubicBezTo>
                <a:cubicBezTo>
                  <a:pt x="131" y="62"/>
                  <a:pt x="135" y="54"/>
                  <a:pt x="136" y="45"/>
                </a:cubicBezTo>
                <a:cubicBezTo>
                  <a:pt x="138" y="34"/>
                  <a:pt x="135" y="25"/>
                  <a:pt x="128" y="18"/>
                </a:cubicBezTo>
                <a:close/>
                <a:moveTo>
                  <a:pt x="44" y="96"/>
                </a:moveTo>
                <a:cubicBezTo>
                  <a:pt x="43" y="97"/>
                  <a:pt x="41" y="97"/>
                  <a:pt x="40" y="96"/>
                </a:cubicBezTo>
                <a:cubicBezTo>
                  <a:pt x="39" y="95"/>
                  <a:pt x="39" y="95"/>
                  <a:pt x="39" y="94"/>
                </a:cubicBezTo>
                <a:cubicBezTo>
                  <a:pt x="39" y="93"/>
                  <a:pt x="39" y="92"/>
                  <a:pt x="40" y="91"/>
                </a:cubicBezTo>
                <a:cubicBezTo>
                  <a:pt x="40" y="91"/>
                  <a:pt x="40" y="91"/>
                  <a:pt x="40" y="91"/>
                </a:cubicBezTo>
                <a:cubicBezTo>
                  <a:pt x="44" y="96"/>
                  <a:pt x="44" y="96"/>
                  <a:pt x="44" y="96"/>
                </a:cubicBezTo>
                <a:close/>
                <a:moveTo>
                  <a:pt x="102" y="92"/>
                </a:moveTo>
                <a:cubicBezTo>
                  <a:pt x="103" y="92"/>
                  <a:pt x="103" y="93"/>
                  <a:pt x="103" y="94"/>
                </a:cubicBezTo>
                <a:cubicBezTo>
                  <a:pt x="103" y="95"/>
                  <a:pt x="103" y="96"/>
                  <a:pt x="102" y="96"/>
                </a:cubicBezTo>
                <a:cubicBezTo>
                  <a:pt x="101" y="98"/>
                  <a:pt x="99" y="98"/>
                  <a:pt x="98" y="96"/>
                </a:cubicBezTo>
                <a:cubicBezTo>
                  <a:pt x="62" y="60"/>
                  <a:pt x="62" y="60"/>
                  <a:pt x="62" y="60"/>
                </a:cubicBezTo>
                <a:cubicBezTo>
                  <a:pt x="56" y="66"/>
                  <a:pt x="56" y="66"/>
                  <a:pt x="56" y="66"/>
                </a:cubicBezTo>
                <a:cubicBezTo>
                  <a:pt x="87" y="97"/>
                  <a:pt x="87" y="97"/>
                  <a:pt x="87" y="97"/>
                </a:cubicBezTo>
                <a:cubicBezTo>
                  <a:pt x="88" y="97"/>
                  <a:pt x="88" y="98"/>
                  <a:pt x="88" y="99"/>
                </a:cubicBezTo>
                <a:cubicBezTo>
                  <a:pt x="88" y="100"/>
                  <a:pt x="88" y="101"/>
                  <a:pt x="87" y="101"/>
                </a:cubicBezTo>
                <a:cubicBezTo>
                  <a:pt x="86" y="103"/>
                  <a:pt x="84" y="103"/>
                  <a:pt x="82" y="101"/>
                </a:cubicBezTo>
                <a:cubicBezTo>
                  <a:pt x="59" y="79"/>
                  <a:pt x="59" y="79"/>
                  <a:pt x="59" y="79"/>
                </a:cubicBezTo>
                <a:cubicBezTo>
                  <a:pt x="48" y="67"/>
                  <a:pt x="48" y="67"/>
                  <a:pt x="48" y="67"/>
                </a:cubicBezTo>
                <a:cubicBezTo>
                  <a:pt x="42" y="73"/>
                  <a:pt x="42" y="73"/>
                  <a:pt x="42" y="73"/>
                </a:cubicBezTo>
                <a:cubicBezTo>
                  <a:pt x="69" y="99"/>
                  <a:pt x="69" y="99"/>
                  <a:pt x="69" y="99"/>
                </a:cubicBezTo>
                <a:cubicBezTo>
                  <a:pt x="69" y="100"/>
                  <a:pt x="70" y="101"/>
                  <a:pt x="70" y="102"/>
                </a:cubicBezTo>
                <a:cubicBezTo>
                  <a:pt x="70" y="102"/>
                  <a:pt x="69" y="103"/>
                  <a:pt x="69" y="104"/>
                </a:cubicBezTo>
                <a:cubicBezTo>
                  <a:pt x="67" y="105"/>
                  <a:pt x="65" y="105"/>
                  <a:pt x="64" y="104"/>
                </a:cubicBezTo>
                <a:cubicBezTo>
                  <a:pt x="24" y="64"/>
                  <a:pt x="24" y="64"/>
                  <a:pt x="24" y="64"/>
                </a:cubicBezTo>
                <a:cubicBezTo>
                  <a:pt x="16" y="56"/>
                  <a:pt x="10" y="37"/>
                  <a:pt x="21" y="25"/>
                </a:cubicBezTo>
                <a:cubicBezTo>
                  <a:pt x="32" y="15"/>
                  <a:pt x="42" y="9"/>
                  <a:pt x="52" y="9"/>
                </a:cubicBezTo>
                <a:cubicBezTo>
                  <a:pt x="53" y="9"/>
                  <a:pt x="54" y="9"/>
                  <a:pt x="54" y="10"/>
                </a:cubicBezTo>
                <a:cubicBezTo>
                  <a:pt x="52" y="11"/>
                  <a:pt x="48" y="14"/>
                  <a:pt x="46" y="15"/>
                </a:cubicBezTo>
                <a:cubicBezTo>
                  <a:pt x="40" y="19"/>
                  <a:pt x="40" y="24"/>
                  <a:pt x="42" y="28"/>
                </a:cubicBezTo>
                <a:cubicBezTo>
                  <a:pt x="45" y="33"/>
                  <a:pt x="53" y="36"/>
                  <a:pt x="64" y="31"/>
                </a:cubicBezTo>
                <a:cubicBezTo>
                  <a:pt x="65" y="31"/>
                  <a:pt x="68" y="30"/>
                  <a:pt x="68" y="30"/>
                </a:cubicBezTo>
                <a:cubicBezTo>
                  <a:pt x="67" y="28"/>
                  <a:pt x="108" y="74"/>
                  <a:pt x="108" y="74"/>
                </a:cubicBezTo>
                <a:cubicBezTo>
                  <a:pt x="108" y="74"/>
                  <a:pt x="108" y="74"/>
                  <a:pt x="108" y="74"/>
                </a:cubicBezTo>
                <a:cubicBezTo>
                  <a:pt x="108" y="75"/>
                  <a:pt x="109" y="76"/>
                  <a:pt x="109" y="77"/>
                </a:cubicBezTo>
                <a:cubicBezTo>
                  <a:pt x="109" y="78"/>
                  <a:pt x="108" y="79"/>
                  <a:pt x="108" y="80"/>
                </a:cubicBezTo>
                <a:cubicBezTo>
                  <a:pt x="106" y="81"/>
                  <a:pt x="103" y="81"/>
                  <a:pt x="102" y="80"/>
                </a:cubicBezTo>
                <a:cubicBezTo>
                  <a:pt x="72" y="50"/>
                  <a:pt x="72" y="50"/>
                  <a:pt x="72" y="50"/>
                </a:cubicBezTo>
                <a:cubicBezTo>
                  <a:pt x="71" y="50"/>
                  <a:pt x="71" y="50"/>
                  <a:pt x="71" y="50"/>
                </a:cubicBezTo>
                <a:cubicBezTo>
                  <a:pt x="66" y="55"/>
                  <a:pt x="66" y="55"/>
                  <a:pt x="66" y="55"/>
                </a:cubicBezTo>
                <a:lnTo>
                  <a:pt x="102" y="92"/>
                </a:lnTo>
                <a:close/>
                <a:moveTo>
                  <a:pt x="128" y="44"/>
                </a:moveTo>
                <a:cubicBezTo>
                  <a:pt x="127" y="51"/>
                  <a:pt x="124" y="58"/>
                  <a:pt x="119" y="63"/>
                </a:cubicBezTo>
                <a:cubicBezTo>
                  <a:pt x="113" y="68"/>
                  <a:pt x="113" y="68"/>
                  <a:pt x="113" y="68"/>
                </a:cubicBezTo>
                <a:cubicBezTo>
                  <a:pt x="113" y="68"/>
                  <a:pt x="113" y="68"/>
                  <a:pt x="113" y="68"/>
                </a:cubicBezTo>
                <a:cubicBezTo>
                  <a:pt x="113" y="68"/>
                  <a:pt x="79" y="32"/>
                  <a:pt x="77" y="29"/>
                </a:cubicBezTo>
                <a:cubicBezTo>
                  <a:pt x="79" y="26"/>
                  <a:pt x="78" y="24"/>
                  <a:pt x="77" y="23"/>
                </a:cubicBezTo>
                <a:cubicBezTo>
                  <a:pt x="76" y="21"/>
                  <a:pt x="74" y="20"/>
                  <a:pt x="71" y="21"/>
                </a:cubicBezTo>
                <a:cubicBezTo>
                  <a:pt x="69" y="21"/>
                  <a:pt x="66" y="22"/>
                  <a:pt x="63" y="23"/>
                </a:cubicBezTo>
                <a:cubicBezTo>
                  <a:pt x="62" y="23"/>
                  <a:pt x="62" y="23"/>
                  <a:pt x="61" y="24"/>
                </a:cubicBezTo>
                <a:cubicBezTo>
                  <a:pt x="54" y="27"/>
                  <a:pt x="50" y="25"/>
                  <a:pt x="49" y="24"/>
                </a:cubicBezTo>
                <a:cubicBezTo>
                  <a:pt x="49" y="23"/>
                  <a:pt x="50" y="22"/>
                  <a:pt x="50" y="22"/>
                </a:cubicBezTo>
                <a:cubicBezTo>
                  <a:pt x="53" y="20"/>
                  <a:pt x="56" y="18"/>
                  <a:pt x="58" y="17"/>
                </a:cubicBezTo>
                <a:cubicBezTo>
                  <a:pt x="61" y="15"/>
                  <a:pt x="63" y="14"/>
                  <a:pt x="65" y="13"/>
                </a:cubicBezTo>
                <a:cubicBezTo>
                  <a:pt x="68" y="12"/>
                  <a:pt x="70" y="11"/>
                  <a:pt x="72" y="10"/>
                </a:cubicBezTo>
                <a:cubicBezTo>
                  <a:pt x="80" y="8"/>
                  <a:pt x="86" y="8"/>
                  <a:pt x="92" y="8"/>
                </a:cubicBezTo>
                <a:cubicBezTo>
                  <a:pt x="103" y="8"/>
                  <a:pt x="111" y="13"/>
                  <a:pt x="122" y="24"/>
                </a:cubicBezTo>
                <a:cubicBezTo>
                  <a:pt x="129" y="30"/>
                  <a:pt x="129" y="38"/>
                  <a:pt x="128" y="44"/>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defRPr/>
            </a:pPr>
            <a:endParaRPr lang="en-US">
              <a:solidFill>
                <a:srgbClr val="353535"/>
              </a:solidFill>
              <a:latin typeface="Segoe UI Semilight"/>
            </a:endParaRPr>
          </a:p>
        </p:txBody>
      </p:sp>
      <p:pic>
        <p:nvPicPr>
          <p:cNvPr id="169" name="Picture 168" descr="A picture containing: thing, object, clock&#10;&#10;Description generated with very high confidence">
            <a:extLst>
              <a:ext uri="{FF2B5EF4-FFF2-40B4-BE49-F238E27FC236}">
                <a16:creationId xmlns:a16="http://schemas.microsoft.com/office/drawing/2014/main" id="{7D74D74F-AD88-480F-AED3-24A3A471FE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0438" y="4566892"/>
            <a:ext cx="961103" cy="248926"/>
          </a:xfrm>
          <a:prstGeom prst="rect">
            <a:avLst/>
          </a:prstGeom>
        </p:spPr>
      </p:pic>
      <p:pic>
        <p:nvPicPr>
          <p:cNvPr id="170" name="Picture 169" descr="A picture containing: nintendo, clipart&#10;&#10;Description generated with very high confidence">
            <a:extLst>
              <a:ext uri="{FF2B5EF4-FFF2-40B4-BE49-F238E27FC236}">
                <a16:creationId xmlns:a16="http://schemas.microsoft.com/office/drawing/2014/main" id="{574FFBB5-5D09-4D84-ACBB-452C3A5B0B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89934" y="4103325"/>
            <a:ext cx="737150" cy="216809"/>
          </a:xfrm>
          <a:prstGeom prst="rect">
            <a:avLst/>
          </a:prstGeom>
        </p:spPr>
      </p:pic>
      <p:pic>
        <p:nvPicPr>
          <p:cNvPr id="171" name="Picture 170" descr="Dosya:Tux.svg">
            <a:extLst>
              <a:ext uri="{FF2B5EF4-FFF2-40B4-BE49-F238E27FC236}">
                <a16:creationId xmlns:a16="http://schemas.microsoft.com/office/drawing/2014/main" id="{5200A0EA-7551-44B8-8BF9-8FDC0A9B5585}"/>
              </a:ext>
            </a:extLst>
          </p:cNvPr>
          <p:cNvPicPr>
            <a:picLocks noChangeAspect="1"/>
          </p:cNvPicPr>
          <p:nvPr/>
        </p:nvPicPr>
        <p:blipFill>
          <a:blip r:embed="rId5"/>
          <a:stretch>
            <a:fillRect/>
          </a:stretch>
        </p:blipFill>
        <p:spPr>
          <a:xfrm>
            <a:off x="9784431" y="4003574"/>
            <a:ext cx="299445" cy="352820"/>
          </a:xfrm>
          <a:prstGeom prst="rect">
            <a:avLst/>
          </a:prstGeom>
        </p:spPr>
      </p:pic>
      <p:pic>
        <p:nvPicPr>
          <p:cNvPr id="172" name="Picture 171" descr="Docker : ฉบับปูพื้น – Jaynarol Blog">
            <a:extLst>
              <a:ext uri="{FF2B5EF4-FFF2-40B4-BE49-F238E27FC236}">
                <a16:creationId xmlns:a16="http://schemas.microsoft.com/office/drawing/2014/main" id="{D8D51B0D-73CF-4068-A8F2-E7A21FCDF3C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1433142" y="3998818"/>
            <a:ext cx="406124" cy="362332"/>
          </a:xfrm>
          <a:prstGeom prst="rect">
            <a:avLst/>
          </a:prstGeom>
        </p:spPr>
      </p:pic>
      <p:pic>
        <p:nvPicPr>
          <p:cNvPr id="173" name="Picture 172" descr="File:Python-logo-notext.svg">
            <a:extLst>
              <a:ext uri="{FF2B5EF4-FFF2-40B4-BE49-F238E27FC236}">
                <a16:creationId xmlns:a16="http://schemas.microsoft.com/office/drawing/2014/main" id="{FD50F05D-45CD-4358-B9E2-FD6780D8E47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4431" y="4552992"/>
            <a:ext cx="276727" cy="276727"/>
          </a:xfrm>
          <a:prstGeom prst="rect">
            <a:avLst/>
          </a:prstGeom>
        </p:spPr>
      </p:pic>
      <p:pic>
        <p:nvPicPr>
          <p:cNvPr id="174" name="Picture 173" descr="A picture containing: nintendo&#10;&#10;Description generated with very high confidence">
            <a:extLst>
              <a:ext uri="{FF2B5EF4-FFF2-40B4-BE49-F238E27FC236}">
                <a16:creationId xmlns:a16="http://schemas.microsoft.com/office/drawing/2014/main" id="{D62C3C1D-EE2F-488C-B195-D4BD9FD13BB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490540" y="4524922"/>
            <a:ext cx="324964" cy="315305"/>
          </a:xfrm>
          <a:prstGeom prst="rect">
            <a:avLst/>
          </a:prstGeom>
        </p:spPr>
      </p:pic>
      <p:sp>
        <p:nvSpPr>
          <p:cNvPr id="175" name="Rectangle 174">
            <a:extLst>
              <a:ext uri="{FF2B5EF4-FFF2-40B4-BE49-F238E27FC236}">
                <a16:creationId xmlns:a16="http://schemas.microsoft.com/office/drawing/2014/main" id="{1BECBD52-576A-4EA5-B0AE-FA161049DD6D}"/>
              </a:ext>
            </a:extLst>
          </p:cNvPr>
          <p:cNvSpPr/>
          <p:nvPr/>
        </p:nvSpPr>
        <p:spPr>
          <a:xfrm>
            <a:off x="3567075" y="2854909"/>
            <a:ext cx="2221677" cy="812749"/>
          </a:xfrm>
          <a:prstGeom prst="rect">
            <a:avLst/>
          </a:prstGeom>
        </p:spPr>
        <p:txBody>
          <a:bodyPr vert="horz" wrap="square" lIns="0" tIns="0" rIns="0" bIns="0">
            <a:spAutoFit/>
          </a:bodyPr>
          <a:lstStyle/>
          <a:p>
            <a:pPr defTabSz="932205" eaLnBrk="0" hangingPunct="0">
              <a:lnSpc>
                <a:spcPct val="90000"/>
              </a:lnSpc>
              <a:spcBef>
                <a:spcPts val="600"/>
              </a:spcBef>
              <a:defRPr/>
            </a:pPr>
            <a:r>
              <a:rPr lang="en-US" sz="2800" kern="0" dirty="0">
                <a:gradFill>
                  <a:gsLst>
                    <a:gs pos="17486">
                      <a:srgbClr val="0078D7"/>
                    </a:gs>
                    <a:gs pos="28962">
                      <a:srgbClr val="0078D7"/>
                    </a:gs>
                  </a:gsLst>
                  <a:lin ang="5400000" scaled="0"/>
                </a:gradFill>
                <a:latin typeface="Segoe UI Semilight"/>
                <a:ea typeface="ＭＳ Ｐゴシック" charset="0"/>
              </a:rPr>
              <a:t>Integrate</a:t>
            </a:r>
          </a:p>
          <a:p>
            <a:pPr defTabSz="932205">
              <a:lnSpc>
                <a:spcPct val="90000"/>
              </a:lnSpc>
              <a:spcBef>
                <a:spcPts val="600"/>
              </a:spcBef>
              <a:defRPr/>
            </a:pPr>
            <a:r>
              <a:rPr lang="en-US" sz="1199" kern="0" dirty="0">
                <a:gradFill>
                  <a:gsLst>
                    <a:gs pos="28962">
                      <a:srgbClr val="353535"/>
                    </a:gs>
                    <a:gs pos="48000">
                      <a:srgbClr val="353535"/>
                    </a:gs>
                  </a:gsLst>
                  <a:lin ang="5400000" scaled="0"/>
                </a:gradFill>
                <a:latin typeface="Segoe UI"/>
              </a:rPr>
              <a:t>open-source technologies in our platform</a:t>
            </a:r>
          </a:p>
        </p:txBody>
      </p:sp>
      <p:grpSp>
        <p:nvGrpSpPr>
          <p:cNvPr id="176" name="Group 175">
            <a:extLst>
              <a:ext uri="{FF2B5EF4-FFF2-40B4-BE49-F238E27FC236}">
                <a16:creationId xmlns:a16="http://schemas.microsoft.com/office/drawing/2014/main" id="{DEA278DE-2056-4313-A1A7-232C571DF520}"/>
              </a:ext>
            </a:extLst>
          </p:cNvPr>
          <p:cNvGrpSpPr>
            <a:grpSpLocks noChangeAspect="1"/>
          </p:cNvGrpSpPr>
          <p:nvPr/>
        </p:nvGrpSpPr>
        <p:grpSpPr>
          <a:xfrm>
            <a:off x="3566695" y="2243814"/>
            <a:ext cx="319995" cy="381139"/>
            <a:chOff x="11798301" y="284163"/>
            <a:chExt cx="309563" cy="388938"/>
          </a:xfrm>
        </p:grpSpPr>
        <p:sp>
          <p:nvSpPr>
            <p:cNvPr id="177" name="Freeform 7">
              <a:extLst>
                <a:ext uri="{FF2B5EF4-FFF2-40B4-BE49-F238E27FC236}">
                  <a16:creationId xmlns:a16="http://schemas.microsoft.com/office/drawing/2014/main" id="{34A80C33-7662-4206-BDC8-185E64176529}"/>
                </a:ext>
              </a:extLst>
            </p:cNvPr>
            <p:cNvSpPr>
              <a:spLocks/>
            </p:cNvSpPr>
            <p:nvPr/>
          </p:nvSpPr>
          <p:spPr bwMode="auto">
            <a:xfrm>
              <a:off x="11952289" y="336551"/>
              <a:ext cx="155575" cy="298450"/>
            </a:xfrm>
            <a:custGeom>
              <a:avLst/>
              <a:gdLst>
                <a:gd name="T0" fmla="*/ 17 w 48"/>
                <a:gd name="T1" fmla="*/ 0 h 93"/>
                <a:gd name="T2" fmla="*/ 48 w 48"/>
                <a:gd name="T3" fmla="*/ 45 h 93"/>
                <a:gd name="T4" fmla="*/ 0 w 48"/>
                <a:gd name="T5" fmla="*/ 93 h 93"/>
              </a:gdLst>
              <a:ahLst/>
              <a:cxnLst>
                <a:cxn ang="0">
                  <a:pos x="T0" y="T1"/>
                </a:cxn>
                <a:cxn ang="0">
                  <a:pos x="T2" y="T3"/>
                </a:cxn>
                <a:cxn ang="0">
                  <a:pos x="T4" y="T5"/>
                </a:cxn>
              </a:cxnLst>
              <a:rect l="0" t="0" r="r" b="b"/>
              <a:pathLst>
                <a:path w="48" h="93">
                  <a:moveTo>
                    <a:pt x="17" y="0"/>
                  </a:moveTo>
                  <a:cubicBezTo>
                    <a:pt x="35" y="6"/>
                    <a:pt x="48" y="24"/>
                    <a:pt x="48" y="45"/>
                  </a:cubicBezTo>
                  <a:cubicBezTo>
                    <a:pt x="48" y="71"/>
                    <a:pt x="27" y="93"/>
                    <a:pt x="0" y="93"/>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sp>
          <p:nvSpPr>
            <p:cNvPr id="178" name="Freeform 8">
              <a:extLst>
                <a:ext uri="{FF2B5EF4-FFF2-40B4-BE49-F238E27FC236}">
                  <a16:creationId xmlns:a16="http://schemas.microsoft.com/office/drawing/2014/main" id="{DE5714AF-A629-473E-9D32-6EAFEC8731D7}"/>
                </a:ext>
              </a:extLst>
            </p:cNvPr>
            <p:cNvSpPr>
              <a:spLocks/>
            </p:cNvSpPr>
            <p:nvPr/>
          </p:nvSpPr>
          <p:spPr bwMode="auto">
            <a:xfrm>
              <a:off x="11798301" y="323851"/>
              <a:ext cx="153988" cy="301625"/>
            </a:xfrm>
            <a:custGeom>
              <a:avLst/>
              <a:gdLst>
                <a:gd name="T0" fmla="*/ 31 w 48"/>
                <a:gd name="T1" fmla="*/ 94 h 94"/>
                <a:gd name="T2" fmla="*/ 0 w 48"/>
                <a:gd name="T3" fmla="*/ 49 h 94"/>
                <a:gd name="T4" fmla="*/ 48 w 48"/>
                <a:gd name="T5" fmla="*/ 0 h 94"/>
              </a:gdLst>
              <a:ahLst/>
              <a:cxnLst>
                <a:cxn ang="0">
                  <a:pos x="T0" y="T1"/>
                </a:cxn>
                <a:cxn ang="0">
                  <a:pos x="T2" y="T3"/>
                </a:cxn>
                <a:cxn ang="0">
                  <a:pos x="T4" y="T5"/>
                </a:cxn>
              </a:cxnLst>
              <a:rect l="0" t="0" r="r" b="b"/>
              <a:pathLst>
                <a:path w="48" h="94">
                  <a:moveTo>
                    <a:pt x="31" y="94"/>
                  </a:moveTo>
                  <a:cubicBezTo>
                    <a:pt x="13" y="87"/>
                    <a:pt x="0" y="69"/>
                    <a:pt x="0" y="49"/>
                  </a:cubicBezTo>
                  <a:cubicBezTo>
                    <a:pt x="0" y="22"/>
                    <a:pt x="21" y="0"/>
                    <a:pt x="48" y="0"/>
                  </a:cubicBez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sp>
          <p:nvSpPr>
            <p:cNvPr id="179" name="Line 9">
              <a:extLst>
                <a:ext uri="{FF2B5EF4-FFF2-40B4-BE49-F238E27FC236}">
                  <a16:creationId xmlns:a16="http://schemas.microsoft.com/office/drawing/2014/main" id="{A19C20B6-5633-418F-8BC8-595F431409F6}"/>
                </a:ext>
              </a:extLst>
            </p:cNvPr>
            <p:cNvSpPr>
              <a:spLocks noChangeShapeType="1"/>
            </p:cNvSpPr>
            <p:nvPr/>
          </p:nvSpPr>
          <p:spPr bwMode="auto">
            <a:xfrm>
              <a:off x="11952289" y="452438"/>
              <a:ext cx="0"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sp>
          <p:nvSpPr>
            <p:cNvPr id="180" name="Freeform 10">
              <a:extLst>
                <a:ext uri="{FF2B5EF4-FFF2-40B4-BE49-F238E27FC236}">
                  <a16:creationId xmlns:a16="http://schemas.microsoft.com/office/drawing/2014/main" id="{844B9E76-45FF-4AFF-91E5-525075505603}"/>
                </a:ext>
              </a:extLst>
            </p:cNvPr>
            <p:cNvSpPr>
              <a:spLocks/>
            </p:cNvSpPr>
            <p:nvPr/>
          </p:nvSpPr>
          <p:spPr bwMode="auto">
            <a:xfrm>
              <a:off x="11933239" y="284163"/>
              <a:ext cx="39688" cy="80963"/>
            </a:xfrm>
            <a:custGeom>
              <a:avLst/>
              <a:gdLst>
                <a:gd name="T0" fmla="*/ 0 w 25"/>
                <a:gd name="T1" fmla="*/ 51 h 51"/>
                <a:gd name="T2" fmla="*/ 25 w 25"/>
                <a:gd name="T3" fmla="*/ 25 h 51"/>
                <a:gd name="T4" fmla="*/ 0 w 25"/>
                <a:gd name="T5" fmla="*/ 0 h 51"/>
              </a:gdLst>
              <a:ahLst/>
              <a:cxnLst>
                <a:cxn ang="0">
                  <a:pos x="T0" y="T1"/>
                </a:cxn>
                <a:cxn ang="0">
                  <a:pos x="T2" y="T3"/>
                </a:cxn>
                <a:cxn ang="0">
                  <a:pos x="T4" y="T5"/>
                </a:cxn>
              </a:cxnLst>
              <a:rect l="0" t="0" r="r" b="b"/>
              <a:pathLst>
                <a:path w="25" h="51">
                  <a:moveTo>
                    <a:pt x="0" y="51"/>
                  </a:moveTo>
                  <a:lnTo>
                    <a:pt x="25" y="25"/>
                  </a:lnTo>
                  <a:lnTo>
                    <a:pt x="0" y="0"/>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sp>
          <p:nvSpPr>
            <p:cNvPr id="181" name="Line 11">
              <a:extLst>
                <a:ext uri="{FF2B5EF4-FFF2-40B4-BE49-F238E27FC236}">
                  <a16:creationId xmlns:a16="http://schemas.microsoft.com/office/drawing/2014/main" id="{FC09B72B-276C-4DA3-80A9-364FCB338050}"/>
                </a:ext>
              </a:extLst>
            </p:cNvPr>
            <p:cNvSpPr>
              <a:spLocks noChangeShapeType="1"/>
            </p:cNvSpPr>
            <p:nvPr/>
          </p:nvSpPr>
          <p:spPr bwMode="auto">
            <a:xfrm>
              <a:off x="11952289" y="323851"/>
              <a:ext cx="20638"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sp>
          <p:nvSpPr>
            <p:cNvPr id="182" name="Freeform 12">
              <a:extLst>
                <a:ext uri="{FF2B5EF4-FFF2-40B4-BE49-F238E27FC236}">
                  <a16:creationId xmlns:a16="http://schemas.microsoft.com/office/drawing/2014/main" id="{64F82A30-0C95-4269-95A3-2C443339691C}"/>
                </a:ext>
              </a:extLst>
            </p:cNvPr>
            <p:cNvSpPr>
              <a:spLocks/>
            </p:cNvSpPr>
            <p:nvPr/>
          </p:nvSpPr>
          <p:spPr bwMode="auto">
            <a:xfrm>
              <a:off x="11933239" y="593726"/>
              <a:ext cx="39688" cy="79375"/>
            </a:xfrm>
            <a:custGeom>
              <a:avLst/>
              <a:gdLst>
                <a:gd name="T0" fmla="*/ 25 w 25"/>
                <a:gd name="T1" fmla="*/ 0 h 50"/>
                <a:gd name="T2" fmla="*/ 0 w 25"/>
                <a:gd name="T3" fmla="*/ 26 h 50"/>
                <a:gd name="T4" fmla="*/ 25 w 25"/>
                <a:gd name="T5" fmla="*/ 50 h 50"/>
              </a:gdLst>
              <a:ahLst/>
              <a:cxnLst>
                <a:cxn ang="0">
                  <a:pos x="T0" y="T1"/>
                </a:cxn>
                <a:cxn ang="0">
                  <a:pos x="T2" y="T3"/>
                </a:cxn>
                <a:cxn ang="0">
                  <a:pos x="T4" y="T5"/>
                </a:cxn>
              </a:cxnLst>
              <a:rect l="0" t="0" r="r" b="b"/>
              <a:pathLst>
                <a:path w="25" h="50">
                  <a:moveTo>
                    <a:pt x="25" y="0"/>
                  </a:moveTo>
                  <a:lnTo>
                    <a:pt x="0" y="26"/>
                  </a:lnTo>
                  <a:lnTo>
                    <a:pt x="25" y="50"/>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sp>
          <p:nvSpPr>
            <p:cNvPr id="183" name="Line 13">
              <a:extLst>
                <a:ext uri="{FF2B5EF4-FFF2-40B4-BE49-F238E27FC236}">
                  <a16:creationId xmlns:a16="http://schemas.microsoft.com/office/drawing/2014/main" id="{35837A50-5244-448F-A398-7E9FAD6261D7}"/>
                </a:ext>
              </a:extLst>
            </p:cNvPr>
            <p:cNvSpPr>
              <a:spLocks noChangeShapeType="1"/>
            </p:cNvSpPr>
            <p:nvPr/>
          </p:nvSpPr>
          <p:spPr bwMode="auto">
            <a:xfrm flipH="1">
              <a:off x="11933239" y="635001"/>
              <a:ext cx="19050" cy="0"/>
            </a:xfrm>
            <a:prstGeom prst="line">
              <a:avLst/>
            </a:prstGeom>
            <a:noFill/>
            <a:ln w="254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89606" tIns="44804" rIns="89606" bIns="44804" numCol="1" anchor="t" anchorCtr="0" compatLnSpc="1">
              <a:prstTxWarp prst="textNoShape">
                <a:avLst/>
              </a:prstTxWarp>
            </a:bodyPr>
            <a:lstStyle/>
            <a:p>
              <a:pPr defTabSz="932563">
                <a:defRPr/>
              </a:pPr>
              <a:endParaRPr lang="en-US" sz="1763">
                <a:solidFill>
                  <a:srgbClr val="353535"/>
                </a:solidFill>
                <a:latin typeface="Segoe UI Semilight"/>
              </a:endParaRPr>
            </a:p>
          </p:txBody>
        </p:sp>
      </p:grpSp>
      <p:pic>
        <p:nvPicPr>
          <p:cNvPr id="184" name="Picture 183" descr="A picture containing: nintendo&#10;&#10;Description generated with very high confidence">
            <a:extLst>
              <a:ext uri="{FF2B5EF4-FFF2-40B4-BE49-F238E27FC236}">
                <a16:creationId xmlns:a16="http://schemas.microsoft.com/office/drawing/2014/main" id="{D495EDFE-16F4-43B9-B57B-27B4EE15C6C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67076" y="4017644"/>
            <a:ext cx="324964" cy="315305"/>
          </a:xfrm>
          <a:prstGeom prst="rect">
            <a:avLst/>
          </a:prstGeom>
        </p:spPr>
      </p:pic>
      <p:pic>
        <p:nvPicPr>
          <p:cNvPr id="185" name="Picture 184" descr="A picture containing: thing, object, clock&#10;&#10;Description generated with very high confidence">
            <a:extLst>
              <a:ext uri="{FF2B5EF4-FFF2-40B4-BE49-F238E27FC236}">
                <a16:creationId xmlns:a16="http://schemas.microsoft.com/office/drawing/2014/main" id="{7CB9B24E-5257-45D3-84E0-D88198C159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3368" y="4055522"/>
            <a:ext cx="961103" cy="248926"/>
          </a:xfrm>
          <a:prstGeom prst="rect">
            <a:avLst/>
          </a:prstGeom>
        </p:spPr>
      </p:pic>
      <p:pic>
        <p:nvPicPr>
          <p:cNvPr id="186" name="Picture 185">
            <a:extLst>
              <a:ext uri="{FF2B5EF4-FFF2-40B4-BE49-F238E27FC236}">
                <a16:creationId xmlns:a16="http://schemas.microsoft.com/office/drawing/2014/main" id="{91931887-E920-4EA1-9EDA-83FE670172CA}"/>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5251010" y="4524922"/>
            <a:ext cx="356301" cy="367321"/>
          </a:xfrm>
          <a:prstGeom prst="rect">
            <a:avLst/>
          </a:prstGeom>
        </p:spPr>
      </p:pic>
      <p:pic>
        <p:nvPicPr>
          <p:cNvPr id="187" name="Picture 186" descr="A picture containing clipart&#10;&#10;Description generated with very high confidence">
            <a:extLst>
              <a:ext uri="{FF2B5EF4-FFF2-40B4-BE49-F238E27FC236}">
                <a16:creationId xmlns:a16="http://schemas.microsoft.com/office/drawing/2014/main" id="{F5E5A599-4119-4FE7-A097-DBCD0761E66F}"/>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4236220" y="4524922"/>
            <a:ext cx="685794" cy="304797"/>
          </a:xfrm>
          <a:prstGeom prst="rect">
            <a:avLst/>
          </a:prstGeom>
        </p:spPr>
      </p:pic>
      <p:pic>
        <p:nvPicPr>
          <p:cNvPr id="188" name="Picture 187">
            <a:extLst>
              <a:ext uri="{FF2B5EF4-FFF2-40B4-BE49-F238E27FC236}">
                <a16:creationId xmlns:a16="http://schemas.microsoft.com/office/drawing/2014/main" id="{DE53015F-1921-478D-BC49-EA0D7482216D}"/>
              </a:ext>
            </a:extLst>
          </p:cNvPr>
          <p:cNvPicPr>
            <a:picLocks noChangeAspect="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5331060" y="3961214"/>
            <a:ext cx="711241" cy="379518"/>
          </a:xfrm>
          <a:prstGeom prst="rect">
            <a:avLst/>
          </a:prstGeom>
        </p:spPr>
      </p:pic>
      <p:pic>
        <p:nvPicPr>
          <p:cNvPr id="189" name="Picture 188" descr="A close up of a logo&#10;&#10;Description generated with very high confidence">
            <a:extLst>
              <a:ext uri="{FF2B5EF4-FFF2-40B4-BE49-F238E27FC236}">
                <a16:creationId xmlns:a16="http://schemas.microsoft.com/office/drawing/2014/main" id="{14DA3AE2-44ED-4EB8-A842-1DB87BFA8B5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96877" y="4507676"/>
            <a:ext cx="507187" cy="338125"/>
          </a:xfrm>
          <a:prstGeom prst="rect">
            <a:avLst/>
          </a:prstGeom>
        </p:spPr>
      </p:pic>
      <p:sp>
        <p:nvSpPr>
          <p:cNvPr id="190" name="Rectangle 189">
            <a:extLst>
              <a:ext uri="{FF2B5EF4-FFF2-40B4-BE49-F238E27FC236}">
                <a16:creationId xmlns:a16="http://schemas.microsoft.com/office/drawing/2014/main" id="{C6AEB22A-779A-4B79-9384-A0A6BAC8873A}"/>
              </a:ext>
            </a:extLst>
          </p:cNvPr>
          <p:cNvSpPr/>
          <p:nvPr/>
        </p:nvSpPr>
        <p:spPr>
          <a:xfrm>
            <a:off x="458397" y="2854909"/>
            <a:ext cx="2221677" cy="812749"/>
          </a:xfrm>
          <a:prstGeom prst="rect">
            <a:avLst/>
          </a:prstGeom>
        </p:spPr>
        <p:txBody>
          <a:bodyPr vert="horz" wrap="square" lIns="0" tIns="0" rIns="0" bIns="0">
            <a:spAutoFit/>
          </a:bodyPr>
          <a:lstStyle/>
          <a:p>
            <a:pPr defTabSz="932205" eaLnBrk="0" hangingPunct="0">
              <a:lnSpc>
                <a:spcPct val="90000"/>
              </a:lnSpc>
              <a:spcBef>
                <a:spcPts val="600"/>
              </a:spcBef>
              <a:defRPr/>
            </a:pPr>
            <a:r>
              <a:rPr lang="en-US" sz="2800" kern="0" dirty="0">
                <a:gradFill>
                  <a:gsLst>
                    <a:gs pos="17486">
                      <a:srgbClr val="0078D7"/>
                    </a:gs>
                    <a:gs pos="28962">
                      <a:srgbClr val="0078D7"/>
                    </a:gs>
                  </a:gsLst>
                  <a:lin ang="5400000" scaled="0"/>
                </a:gradFill>
                <a:latin typeface="Segoe UI Semilight"/>
                <a:ea typeface="ＭＳ Ｐゴシック" charset="0"/>
              </a:rPr>
              <a:t>Enable</a:t>
            </a:r>
          </a:p>
          <a:p>
            <a:pPr defTabSz="932205">
              <a:lnSpc>
                <a:spcPct val="90000"/>
              </a:lnSpc>
              <a:spcBef>
                <a:spcPts val="600"/>
              </a:spcBef>
              <a:defRPr/>
            </a:pPr>
            <a:r>
              <a:rPr lang="en-US" sz="1199" kern="0" dirty="0">
                <a:gradFill>
                  <a:gsLst>
                    <a:gs pos="28962">
                      <a:srgbClr val="353535"/>
                    </a:gs>
                    <a:gs pos="48000">
                      <a:srgbClr val="353535"/>
                    </a:gs>
                  </a:gsLst>
                  <a:lin ang="5400000" scaled="0"/>
                </a:gradFill>
                <a:latin typeface="Segoe UI"/>
              </a:rPr>
              <a:t>open-source use cases in the cloud</a:t>
            </a:r>
          </a:p>
        </p:txBody>
      </p:sp>
      <p:pic>
        <p:nvPicPr>
          <p:cNvPr id="191" name="Picture 190" descr="Dosya:Tux.svg">
            <a:extLst>
              <a:ext uri="{FF2B5EF4-FFF2-40B4-BE49-F238E27FC236}">
                <a16:creationId xmlns:a16="http://schemas.microsoft.com/office/drawing/2014/main" id="{11446F1F-8D2F-40E6-8F50-2DD0DD0385FD}"/>
              </a:ext>
            </a:extLst>
          </p:cNvPr>
          <p:cNvPicPr>
            <a:picLocks noChangeAspect="1"/>
          </p:cNvPicPr>
          <p:nvPr/>
        </p:nvPicPr>
        <p:blipFill>
          <a:blip r:embed="rId5"/>
          <a:stretch>
            <a:fillRect/>
          </a:stretch>
        </p:blipFill>
        <p:spPr>
          <a:xfrm>
            <a:off x="458018" y="4003574"/>
            <a:ext cx="299445" cy="352820"/>
          </a:xfrm>
          <a:prstGeom prst="rect">
            <a:avLst/>
          </a:prstGeom>
        </p:spPr>
      </p:pic>
      <p:pic>
        <p:nvPicPr>
          <p:cNvPr id="192" name="Picture 191" descr="Docker : ฉบับปูพื้น – Jaynarol Blog">
            <a:extLst>
              <a:ext uri="{FF2B5EF4-FFF2-40B4-BE49-F238E27FC236}">
                <a16:creationId xmlns:a16="http://schemas.microsoft.com/office/drawing/2014/main" id="{B7FD2FF3-5694-4535-81CE-6E9B9B4B1B2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246302" y="3998818"/>
            <a:ext cx="406124" cy="362332"/>
          </a:xfrm>
          <a:prstGeom prst="rect">
            <a:avLst/>
          </a:prstGeom>
        </p:spPr>
      </p:pic>
      <p:pic>
        <p:nvPicPr>
          <p:cNvPr id="193" name="Picture 192">
            <a:extLst>
              <a:ext uri="{FF2B5EF4-FFF2-40B4-BE49-F238E27FC236}">
                <a16:creationId xmlns:a16="http://schemas.microsoft.com/office/drawing/2014/main" id="{730E4D08-10F1-4DBF-8690-BC5AD724806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97256" y="4638010"/>
            <a:ext cx="486290" cy="135714"/>
          </a:xfrm>
          <a:prstGeom prst="rect">
            <a:avLst/>
          </a:prstGeom>
        </p:spPr>
      </p:pic>
      <p:pic>
        <p:nvPicPr>
          <p:cNvPr id="194" name="Picture 193" descr="File:Python-logo-notext.svg">
            <a:extLst>
              <a:ext uri="{FF2B5EF4-FFF2-40B4-BE49-F238E27FC236}">
                <a16:creationId xmlns:a16="http://schemas.microsoft.com/office/drawing/2014/main" id="{C9993AFF-226F-4E73-96D1-8684051BF0F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8018" y="4567503"/>
            <a:ext cx="276727" cy="276727"/>
          </a:xfrm>
          <a:prstGeom prst="rect">
            <a:avLst/>
          </a:prstGeom>
        </p:spPr>
      </p:pic>
      <p:pic>
        <p:nvPicPr>
          <p:cNvPr id="195" name="Picture 194" descr="A picture containing: nintendo&#10;&#10;Description generated with very high confidence">
            <a:extLst>
              <a:ext uri="{FF2B5EF4-FFF2-40B4-BE49-F238E27FC236}">
                <a16:creationId xmlns:a16="http://schemas.microsoft.com/office/drawing/2014/main" id="{25A902C0-DA06-45FE-9CB9-A4A1198060B6}"/>
              </a:ext>
            </a:extLst>
          </p:cNvPr>
          <p:cNvPicPr>
            <a:picLocks noChangeAspect="1"/>
          </p:cNvPicPr>
          <p:nvPr/>
        </p:nvPicPr>
        <p:blipFill>
          <a:blip r:embed="rId16"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1110861" y="3954392"/>
            <a:ext cx="241893" cy="451183"/>
          </a:xfrm>
          <a:prstGeom prst="rect">
            <a:avLst/>
          </a:prstGeom>
        </p:spPr>
      </p:pic>
      <p:pic>
        <p:nvPicPr>
          <p:cNvPr id="196" name="Picture 2" descr="https://avatars3.githubusercontent.com/u/45120?v=3&amp;s=200">
            <a:extLst>
              <a:ext uri="{FF2B5EF4-FFF2-40B4-BE49-F238E27FC236}">
                <a16:creationId xmlns:a16="http://schemas.microsoft.com/office/drawing/2014/main" id="{FE08CEB2-3ABE-4A51-8A5A-D477DCDA260B}"/>
              </a:ext>
            </a:extLst>
          </p:cNvPr>
          <p:cNvPicPr>
            <a:picLocks noChangeAspect="1" noChangeArrowheads="1"/>
          </p:cNvPicPr>
          <p:nvPr/>
        </p:nvPicPr>
        <p:blipFill rotWithShape="1">
          <a:blip r:embed="rId17" cstate="print">
            <a:clrChange>
              <a:clrFrom>
                <a:srgbClr val="42494F"/>
              </a:clrFrom>
              <a:clrTo>
                <a:srgbClr val="42494F">
                  <a:alpha val="0"/>
                </a:srgbClr>
              </a:clrTo>
            </a:clrChange>
            <a:extLst>
              <a:ext uri="{28A0092B-C50C-407E-A947-70E740481C1C}">
                <a14:useLocalDpi xmlns:a14="http://schemas.microsoft.com/office/drawing/2010/main" val="0"/>
              </a:ext>
            </a:extLst>
          </a:blip>
          <a:srcRect/>
          <a:stretch/>
        </p:blipFill>
        <p:spPr bwMode="auto">
          <a:xfrm>
            <a:off x="1706152" y="3955992"/>
            <a:ext cx="186749" cy="447985"/>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196">
            <a:extLst>
              <a:ext uri="{FF2B5EF4-FFF2-40B4-BE49-F238E27FC236}">
                <a16:creationId xmlns:a16="http://schemas.microsoft.com/office/drawing/2014/main" id="{101CBA5C-BD59-4EB8-AD00-935888634FA0}"/>
              </a:ext>
            </a:extLst>
          </p:cNvPr>
          <p:cNvPicPr>
            <a:picLocks noChangeAspect="1"/>
          </p:cNvPicPr>
          <p:nvPr/>
        </p:nvPicPr>
        <p:blipFill>
          <a:blip r:embed="rId18">
            <a:clrChange>
              <a:clrFrom>
                <a:srgbClr val="FFFFFF"/>
              </a:clrFrom>
              <a:clrTo>
                <a:srgbClr val="FFFFFF">
                  <a:alpha val="0"/>
                </a:srgbClr>
              </a:clrTo>
            </a:clrChange>
          </a:blip>
          <a:stretch>
            <a:fillRect/>
          </a:stretch>
        </p:blipFill>
        <p:spPr>
          <a:xfrm>
            <a:off x="458018" y="2243079"/>
            <a:ext cx="396218" cy="280400"/>
          </a:xfrm>
          <a:prstGeom prst="rect">
            <a:avLst/>
          </a:prstGeom>
        </p:spPr>
      </p:pic>
      <p:pic>
        <p:nvPicPr>
          <p:cNvPr id="198" name="Picture 197">
            <a:extLst>
              <a:ext uri="{FF2B5EF4-FFF2-40B4-BE49-F238E27FC236}">
                <a16:creationId xmlns:a16="http://schemas.microsoft.com/office/drawing/2014/main" id="{CCBE21F3-5CD1-43AF-8FA5-0F65B774092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637485" y="4559822"/>
            <a:ext cx="353925" cy="353925"/>
          </a:xfrm>
          <a:prstGeom prst="rect">
            <a:avLst/>
          </a:prstGeom>
        </p:spPr>
      </p:pic>
      <p:grpSp>
        <p:nvGrpSpPr>
          <p:cNvPr id="199" name="Group 198">
            <a:extLst>
              <a:ext uri="{FF2B5EF4-FFF2-40B4-BE49-F238E27FC236}">
                <a16:creationId xmlns:a16="http://schemas.microsoft.com/office/drawing/2014/main" id="{180C7A9E-5CC7-42C7-8FA9-01F68D112124}"/>
              </a:ext>
            </a:extLst>
          </p:cNvPr>
          <p:cNvGrpSpPr/>
          <p:nvPr/>
        </p:nvGrpSpPr>
        <p:grpSpPr>
          <a:xfrm>
            <a:off x="221758" y="5837523"/>
            <a:ext cx="12043542" cy="676675"/>
            <a:chOff x="216565" y="5829770"/>
            <a:chExt cx="11808466" cy="663469"/>
          </a:xfrm>
        </p:grpSpPr>
        <p:pic>
          <p:nvPicPr>
            <p:cNvPr id="200" name="Picture 4" descr="http://www.openmama.org/sites/default/files/Linux_Foundation_logo_0.png">
              <a:extLst>
                <a:ext uri="{FF2B5EF4-FFF2-40B4-BE49-F238E27FC236}">
                  <a16:creationId xmlns:a16="http://schemas.microsoft.com/office/drawing/2014/main" id="{715670DF-34F5-4A71-8403-0CECFFD5083F}"/>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6565" y="6200423"/>
              <a:ext cx="851032" cy="258523"/>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 descr="https://www.eclipse.org/eclipse.org-common/themes/solstice/public/images/logo/eclipse-800x188.png">
              <a:extLst>
                <a:ext uri="{FF2B5EF4-FFF2-40B4-BE49-F238E27FC236}">
                  <a16:creationId xmlns:a16="http://schemas.microsoft.com/office/drawing/2014/main" id="{DBC4C121-03EA-4C71-9387-856DCD176E66}"/>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15110" y="6228207"/>
              <a:ext cx="829320" cy="194890"/>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 descr="Image result for cloud foundry foundation">
              <a:extLst>
                <a:ext uri="{FF2B5EF4-FFF2-40B4-BE49-F238E27FC236}">
                  <a16:creationId xmlns:a16="http://schemas.microsoft.com/office/drawing/2014/main" id="{29FCB506-4536-4A62-8BE4-2209EA91FB2F}"/>
                </a:ext>
              </a:extLst>
            </p:cNvPr>
            <p:cNvPicPr>
              <a:picLocks noChangeAspect="1" noChangeArrowheads="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229601" y="6194722"/>
              <a:ext cx="1250978" cy="298517"/>
            </a:xfrm>
            <a:prstGeom prst="rect">
              <a:avLst/>
            </a:prstGeom>
            <a:noFill/>
            <a:extLst>
              <a:ext uri="{909E8E84-426E-40DD-AFC4-6F175D3DCCD1}">
                <a14:hiddenFill xmlns:a14="http://schemas.microsoft.com/office/drawing/2010/main">
                  <a:solidFill>
                    <a:srgbClr val="FFFFFF"/>
                  </a:solidFill>
                </a14:hiddenFill>
              </a:ext>
            </a:extLst>
          </p:spPr>
        </p:pic>
        <p:sp>
          <p:nvSpPr>
            <p:cNvPr id="203" name="Rectangle 202">
              <a:extLst>
                <a:ext uri="{FF2B5EF4-FFF2-40B4-BE49-F238E27FC236}">
                  <a16:creationId xmlns:a16="http://schemas.microsoft.com/office/drawing/2014/main" id="{2256791C-E57E-41FE-987F-7B771769A8CD}"/>
                </a:ext>
              </a:extLst>
            </p:cNvPr>
            <p:cNvSpPr/>
            <p:nvPr/>
          </p:nvSpPr>
          <p:spPr bwMode="auto">
            <a:xfrm>
              <a:off x="2902739" y="5829770"/>
              <a:ext cx="6386519" cy="193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50846" fontAlgn="base">
                <a:lnSpc>
                  <a:spcPct val="90000"/>
                </a:lnSpc>
                <a:spcBef>
                  <a:spcPct val="0"/>
                </a:spcBef>
                <a:spcAft>
                  <a:spcPct val="0"/>
                </a:spcAft>
                <a:defRPr/>
              </a:pPr>
              <a:r>
                <a:rPr lang="en-US" sz="1399" b="1" kern="0" spc="300" dirty="0">
                  <a:gradFill>
                    <a:gsLst>
                      <a:gs pos="1639">
                        <a:srgbClr val="353535"/>
                      </a:gs>
                      <a:gs pos="17486">
                        <a:srgbClr val="353535"/>
                      </a:gs>
                    </a:gsLst>
                    <a:lin ang="5400000" scaled="0"/>
                  </a:gradFill>
                  <a:latin typeface="Segoe UI" panose="020B0502040204020203" pitchFamily="34" charset="0"/>
                  <a:ea typeface="Segoe UI" panose="020B0502040204020203" pitchFamily="34" charset="0"/>
                  <a:cs typeface="Segoe UI" panose="020B0502040204020203" pitchFamily="34" charset="0"/>
                </a:rPr>
                <a:t>ECOSYSTEM</a:t>
              </a:r>
            </a:p>
          </p:txBody>
        </p:sp>
        <p:pic>
          <p:nvPicPr>
            <p:cNvPr id="204" name="Picture 203">
              <a:extLst>
                <a:ext uri="{FF2B5EF4-FFF2-40B4-BE49-F238E27FC236}">
                  <a16:creationId xmlns:a16="http://schemas.microsoft.com/office/drawing/2014/main" id="{2BA2AB90-FE60-4670-AC0B-832062F0EAC3}"/>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482489" y="6117847"/>
              <a:ext cx="495867" cy="301752"/>
            </a:xfrm>
            <a:prstGeom prst="rect">
              <a:avLst/>
            </a:prstGeom>
          </p:spPr>
        </p:pic>
        <p:pic>
          <p:nvPicPr>
            <p:cNvPr id="205" name="Picture 4" descr="http://people.redhat.com/jamisonm/Red_Hat_cmyk_logo.jpg">
              <a:extLst>
                <a:ext uri="{FF2B5EF4-FFF2-40B4-BE49-F238E27FC236}">
                  <a16:creationId xmlns:a16="http://schemas.microsoft.com/office/drawing/2014/main" id="{19026C13-00DE-4B32-8695-6365DAC1E5A4}"/>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383909" y="6161489"/>
              <a:ext cx="941137" cy="301752"/>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205" descr="A picture containing object, clock&#10;&#10;Description generated with high confidence">
              <a:extLst>
                <a:ext uri="{FF2B5EF4-FFF2-40B4-BE49-F238E27FC236}">
                  <a16:creationId xmlns:a16="http://schemas.microsoft.com/office/drawing/2014/main" id="{E47B7272-49D2-48E4-B363-04205D644243}"/>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185533" y="6162299"/>
              <a:ext cx="1122336" cy="257299"/>
            </a:xfrm>
            <a:prstGeom prst="rect">
              <a:avLst/>
            </a:prstGeom>
          </p:spPr>
        </p:pic>
        <p:pic>
          <p:nvPicPr>
            <p:cNvPr id="207" name="Picture 206">
              <a:extLst>
                <a:ext uri="{FF2B5EF4-FFF2-40B4-BE49-F238E27FC236}">
                  <a16:creationId xmlns:a16="http://schemas.microsoft.com/office/drawing/2014/main" id="{FAED4007-28E0-4DEB-84C4-2501A313FB97}"/>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9440815" y="6180513"/>
              <a:ext cx="994787" cy="301752"/>
            </a:xfrm>
            <a:prstGeom prst="rect">
              <a:avLst/>
            </a:prstGeom>
          </p:spPr>
        </p:pic>
        <p:pic>
          <p:nvPicPr>
            <p:cNvPr id="208" name="Picture 207">
              <a:extLst>
                <a:ext uri="{FF2B5EF4-FFF2-40B4-BE49-F238E27FC236}">
                  <a16:creationId xmlns:a16="http://schemas.microsoft.com/office/drawing/2014/main" id="{B49ACA62-61A8-431C-96EA-A40707817CD1}"/>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568548" y="6117846"/>
              <a:ext cx="798336" cy="301752"/>
            </a:xfrm>
            <a:prstGeom prst="rect">
              <a:avLst/>
            </a:prstGeom>
          </p:spPr>
        </p:pic>
        <p:pic>
          <p:nvPicPr>
            <p:cNvPr id="209" name="Graphic 208">
              <a:extLst>
                <a:ext uri="{FF2B5EF4-FFF2-40B4-BE49-F238E27FC236}">
                  <a16:creationId xmlns:a16="http://schemas.microsoft.com/office/drawing/2014/main" id="{7779CF86-491F-48C6-9C94-3F6237D32716}"/>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483318" y="5948496"/>
              <a:ext cx="541713" cy="541713"/>
            </a:xfrm>
            <a:prstGeom prst="rect">
              <a:avLst/>
            </a:prstGeom>
          </p:spPr>
        </p:pic>
        <p:pic>
          <p:nvPicPr>
            <p:cNvPr id="210" name="Picture 209">
              <a:extLst>
                <a:ext uri="{FF2B5EF4-FFF2-40B4-BE49-F238E27FC236}">
                  <a16:creationId xmlns:a16="http://schemas.microsoft.com/office/drawing/2014/main" id="{161E6978-6C16-4070-A264-43F7F545E2CB}"/>
                </a:ext>
              </a:extLst>
            </p:cNvPr>
            <p:cNvPicPr>
              <a:picLocks noChangeAspect="1"/>
            </p:cNvPicPr>
            <p:nvPr/>
          </p:nvPicPr>
          <p:blipFill rotWithShape="1">
            <a:blip r:embed="rId30">
              <a:clrChange>
                <a:clrFrom>
                  <a:srgbClr val="FFFFFF"/>
                </a:clrFrom>
                <a:clrTo>
                  <a:srgbClr val="FFFFFF">
                    <a:alpha val="0"/>
                  </a:srgbClr>
                </a:clrTo>
              </a:clrChange>
            </a:blip>
            <a:srcRect l="1083" r="1083"/>
            <a:stretch/>
          </p:blipFill>
          <p:spPr>
            <a:xfrm>
              <a:off x="3603196" y="6099779"/>
              <a:ext cx="895813" cy="372084"/>
            </a:xfrm>
            <a:prstGeom prst="rect">
              <a:avLst/>
            </a:prstGeom>
          </p:spPr>
        </p:pic>
        <p:pic>
          <p:nvPicPr>
            <p:cNvPr id="211" name="Picture 210" descr="A close up of a logo&#10;&#10;Description automatically generated">
              <a:extLst>
                <a:ext uri="{FF2B5EF4-FFF2-40B4-BE49-F238E27FC236}">
                  <a16:creationId xmlns:a16="http://schemas.microsoft.com/office/drawing/2014/main" id="{BF0904D7-C2C0-4E2C-97A7-45608454E3DC}"/>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a:stretch/>
          </p:blipFill>
          <p:spPr>
            <a:xfrm>
              <a:off x="4719603" y="6143840"/>
              <a:ext cx="1468847" cy="283961"/>
            </a:xfrm>
            <a:prstGeom prst="rect">
              <a:avLst/>
            </a:prstGeom>
          </p:spPr>
        </p:pic>
      </p:grpSp>
      <p:sp>
        <p:nvSpPr>
          <p:cNvPr id="4" name="Rectangle 3">
            <a:extLst>
              <a:ext uri="{FF2B5EF4-FFF2-40B4-BE49-F238E27FC236}">
                <a16:creationId xmlns:a16="http://schemas.microsoft.com/office/drawing/2014/main" id="{5187828C-4B03-43E6-BA79-BC497BBC890F}"/>
              </a:ext>
            </a:extLst>
          </p:cNvPr>
          <p:cNvSpPr/>
          <p:nvPr/>
        </p:nvSpPr>
        <p:spPr>
          <a:xfrm>
            <a:off x="221758" y="6706994"/>
            <a:ext cx="3589604" cy="184582"/>
          </a:xfrm>
          <a:prstGeom prst="rect">
            <a:avLst/>
          </a:prstGeom>
        </p:spPr>
        <p:txBody>
          <a:bodyPr wrap="square" lIns="0" tIns="0" rIns="0" bIns="0">
            <a:spAutoFit/>
          </a:bodyPr>
          <a:lstStyle/>
          <a:p>
            <a:r>
              <a:rPr lang="en-US" sz="1200" u="sng" dirty="0">
                <a:solidFill>
                  <a:srgbClr val="000000"/>
                </a:solidFill>
                <a:hlinkClick r:id="rId32"/>
              </a:rPr>
              <a:t>https://en.wikipedia.org/wiki/Open-source_software</a:t>
            </a:r>
            <a:r>
              <a:rPr lang="en-US" sz="1200" u="sng" dirty="0">
                <a:solidFill>
                  <a:srgbClr val="000000"/>
                </a:solidFill>
              </a:rPr>
              <a:t> </a:t>
            </a:r>
            <a:endParaRPr lang="en-US" sz="1200" dirty="0">
              <a:solidFill>
                <a:srgbClr val="000000"/>
              </a:solidFill>
            </a:endParaRPr>
          </a:p>
        </p:txBody>
      </p:sp>
    </p:spTree>
    <p:extLst>
      <p:ext uri="{BB962C8B-B14F-4D97-AF65-F5344CB8AC3E}">
        <p14:creationId xmlns:p14="http://schemas.microsoft.com/office/powerpoint/2010/main" val="59849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anim calcmode="lin" valueType="num">
                                      <p:cBhvr additive="base">
                                        <p:cTn id="7" dur="500" fill="hold"/>
                                        <p:tgtEl>
                                          <p:spTgt spid="155"/>
                                        </p:tgtEl>
                                        <p:attrNameLst>
                                          <p:attrName>ppt_x</p:attrName>
                                        </p:attrNameLst>
                                      </p:cBhvr>
                                      <p:tavLst>
                                        <p:tav tm="0">
                                          <p:val>
                                            <p:strVal val="#ppt_x"/>
                                          </p:val>
                                        </p:tav>
                                        <p:tav tm="100000">
                                          <p:val>
                                            <p:strVal val="#ppt_x"/>
                                          </p:val>
                                        </p:tav>
                                      </p:tavLst>
                                    </p:anim>
                                    <p:anim calcmode="lin" valueType="num">
                                      <p:cBhvr additive="base">
                                        <p:cTn id="8" dur="500" fill="hold"/>
                                        <p:tgtEl>
                                          <p:spTgt spid="155"/>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300"/>
                                  </p:stCondLst>
                                  <p:childTnLst>
                                    <p:set>
                                      <p:cBhvr>
                                        <p:cTn id="10" dur="1" fill="hold">
                                          <p:stCondLst>
                                            <p:cond delay="0"/>
                                          </p:stCondLst>
                                        </p:cTn>
                                        <p:tgtEl>
                                          <p:spTgt spid="160"/>
                                        </p:tgtEl>
                                        <p:attrNameLst>
                                          <p:attrName>style.visibility</p:attrName>
                                        </p:attrNameLst>
                                      </p:cBhvr>
                                      <p:to>
                                        <p:strVal val="visible"/>
                                      </p:to>
                                    </p:set>
                                    <p:animEffect transition="in" filter="fade">
                                      <p:cBhvr>
                                        <p:cTn id="11" dur="500"/>
                                        <p:tgtEl>
                                          <p:spTgt spid="160"/>
                                        </p:tgtEl>
                                      </p:cBhvr>
                                    </p:animEffect>
                                  </p:childTnLst>
                                </p:cTn>
                              </p:par>
                              <p:par>
                                <p:cTn id="12" presetID="10" presetClass="entr" presetSubtype="0" fill="hold" nodeType="withEffect">
                                  <p:stCondLst>
                                    <p:cond delay="300"/>
                                  </p:stCondLst>
                                  <p:childTnLst>
                                    <p:set>
                                      <p:cBhvr>
                                        <p:cTn id="13" dur="1" fill="hold">
                                          <p:stCondLst>
                                            <p:cond delay="0"/>
                                          </p:stCondLst>
                                        </p:cTn>
                                        <p:tgtEl>
                                          <p:spTgt spid="161"/>
                                        </p:tgtEl>
                                        <p:attrNameLst>
                                          <p:attrName>style.visibility</p:attrName>
                                        </p:attrNameLst>
                                      </p:cBhvr>
                                      <p:to>
                                        <p:strVal val="visible"/>
                                      </p:to>
                                    </p:set>
                                    <p:animEffect transition="in" filter="fade">
                                      <p:cBhvr>
                                        <p:cTn id="14" dur="500"/>
                                        <p:tgtEl>
                                          <p:spTgt spid="161"/>
                                        </p:tgtEl>
                                      </p:cBhvr>
                                    </p:animEffect>
                                  </p:childTnLst>
                                </p:cTn>
                              </p:par>
                              <p:par>
                                <p:cTn id="15" presetID="10" presetClass="entr" presetSubtype="0" fill="hold" nodeType="withEffect">
                                  <p:stCondLst>
                                    <p:cond delay="300"/>
                                  </p:stCondLst>
                                  <p:childTnLst>
                                    <p:set>
                                      <p:cBhvr>
                                        <p:cTn id="16" dur="1" fill="hold">
                                          <p:stCondLst>
                                            <p:cond delay="0"/>
                                          </p:stCondLst>
                                        </p:cTn>
                                        <p:tgtEl>
                                          <p:spTgt spid="162"/>
                                        </p:tgtEl>
                                        <p:attrNameLst>
                                          <p:attrName>style.visibility</p:attrName>
                                        </p:attrNameLst>
                                      </p:cBhvr>
                                      <p:to>
                                        <p:strVal val="visible"/>
                                      </p:to>
                                    </p:set>
                                    <p:animEffect transition="in" filter="fade">
                                      <p:cBhvr>
                                        <p:cTn id="17" dur="500"/>
                                        <p:tgtEl>
                                          <p:spTgt spid="16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7"/>
                                        </p:tgtEl>
                                        <p:attrNameLst>
                                          <p:attrName>style.visibility</p:attrName>
                                        </p:attrNameLst>
                                      </p:cBhvr>
                                      <p:to>
                                        <p:strVal val="visible"/>
                                      </p:to>
                                    </p:set>
                                    <p:animEffect transition="in" filter="fade">
                                      <p:cBhvr>
                                        <p:cTn id="20" dur="500"/>
                                        <p:tgtEl>
                                          <p:spTgt spid="16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8"/>
                                        </p:tgtEl>
                                        <p:attrNameLst>
                                          <p:attrName>style.visibility</p:attrName>
                                        </p:attrNameLst>
                                      </p:cBhvr>
                                      <p:to>
                                        <p:strVal val="visible"/>
                                      </p:to>
                                    </p:set>
                                    <p:animEffect transition="in" filter="fade">
                                      <p:cBhvr>
                                        <p:cTn id="23" dur="500"/>
                                        <p:tgtEl>
                                          <p:spTgt spid="168"/>
                                        </p:tgtEl>
                                      </p:cBhvr>
                                    </p:animEffect>
                                  </p:childTnLst>
                                </p:cTn>
                              </p:par>
                              <p:par>
                                <p:cTn id="24" presetID="10" presetClass="entr" presetSubtype="0" fill="hold" nodeType="withEffect">
                                  <p:stCondLst>
                                    <p:cond delay="0"/>
                                  </p:stCondLst>
                                  <p:childTnLst>
                                    <p:set>
                                      <p:cBhvr>
                                        <p:cTn id="25" dur="1" fill="hold">
                                          <p:stCondLst>
                                            <p:cond delay="0"/>
                                          </p:stCondLst>
                                        </p:cTn>
                                        <p:tgtEl>
                                          <p:spTgt spid="169"/>
                                        </p:tgtEl>
                                        <p:attrNameLst>
                                          <p:attrName>style.visibility</p:attrName>
                                        </p:attrNameLst>
                                      </p:cBhvr>
                                      <p:to>
                                        <p:strVal val="visible"/>
                                      </p:to>
                                    </p:set>
                                    <p:animEffect transition="in" filter="fade">
                                      <p:cBhvr>
                                        <p:cTn id="26" dur="500"/>
                                        <p:tgtEl>
                                          <p:spTgt spid="169"/>
                                        </p:tgtEl>
                                      </p:cBhvr>
                                    </p:animEffect>
                                  </p:childTnLst>
                                </p:cTn>
                              </p:par>
                              <p:par>
                                <p:cTn id="27" presetID="10" presetClass="entr" presetSubtype="0" fill="hold" nodeType="withEffect">
                                  <p:stCondLst>
                                    <p:cond delay="0"/>
                                  </p:stCondLst>
                                  <p:childTnLst>
                                    <p:set>
                                      <p:cBhvr>
                                        <p:cTn id="28" dur="1" fill="hold">
                                          <p:stCondLst>
                                            <p:cond delay="0"/>
                                          </p:stCondLst>
                                        </p:cTn>
                                        <p:tgtEl>
                                          <p:spTgt spid="170"/>
                                        </p:tgtEl>
                                        <p:attrNameLst>
                                          <p:attrName>style.visibility</p:attrName>
                                        </p:attrNameLst>
                                      </p:cBhvr>
                                      <p:to>
                                        <p:strVal val="visible"/>
                                      </p:to>
                                    </p:set>
                                    <p:animEffect transition="in" filter="fade">
                                      <p:cBhvr>
                                        <p:cTn id="29" dur="500"/>
                                        <p:tgtEl>
                                          <p:spTgt spid="170"/>
                                        </p:tgtEl>
                                      </p:cBhvr>
                                    </p:animEffect>
                                  </p:childTnLst>
                                </p:cTn>
                              </p:par>
                              <p:par>
                                <p:cTn id="30" presetID="10" presetClass="entr" presetSubtype="0" fill="hold" nodeType="withEffect">
                                  <p:stCondLst>
                                    <p:cond delay="0"/>
                                  </p:stCondLst>
                                  <p:childTnLst>
                                    <p:set>
                                      <p:cBhvr>
                                        <p:cTn id="31" dur="1" fill="hold">
                                          <p:stCondLst>
                                            <p:cond delay="0"/>
                                          </p:stCondLst>
                                        </p:cTn>
                                        <p:tgtEl>
                                          <p:spTgt spid="171"/>
                                        </p:tgtEl>
                                        <p:attrNameLst>
                                          <p:attrName>style.visibility</p:attrName>
                                        </p:attrNameLst>
                                      </p:cBhvr>
                                      <p:to>
                                        <p:strVal val="visible"/>
                                      </p:to>
                                    </p:set>
                                    <p:animEffect transition="in" filter="fade">
                                      <p:cBhvr>
                                        <p:cTn id="32" dur="500"/>
                                        <p:tgtEl>
                                          <p:spTgt spid="171"/>
                                        </p:tgtEl>
                                      </p:cBhvr>
                                    </p:animEffect>
                                  </p:childTnLst>
                                </p:cTn>
                              </p:par>
                              <p:par>
                                <p:cTn id="33" presetID="10" presetClass="entr" presetSubtype="0" fill="hold" nodeType="withEffect">
                                  <p:stCondLst>
                                    <p:cond delay="0"/>
                                  </p:stCondLst>
                                  <p:childTnLst>
                                    <p:set>
                                      <p:cBhvr>
                                        <p:cTn id="34" dur="1" fill="hold">
                                          <p:stCondLst>
                                            <p:cond delay="0"/>
                                          </p:stCondLst>
                                        </p:cTn>
                                        <p:tgtEl>
                                          <p:spTgt spid="172"/>
                                        </p:tgtEl>
                                        <p:attrNameLst>
                                          <p:attrName>style.visibility</p:attrName>
                                        </p:attrNameLst>
                                      </p:cBhvr>
                                      <p:to>
                                        <p:strVal val="visible"/>
                                      </p:to>
                                    </p:set>
                                    <p:animEffect transition="in" filter="fade">
                                      <p:cBhvr>
                                        <p:cTn id="35" dur="500"/>
                                        <p:tgtEl>
                                          <p:spTgt spid="172"/>
                                        </p:tgtEl>
                                      </p:cBhvr>
                                    </p:animEffect>
                                  </p:childTnLst>
                                </p:cTn>
                              </p:par>
                              <p:par>
                                <p:cTn id="36" presetID="10" presetClass="entr" presetSubtype="0" fill="hold" nodeType="withEffect">
                                  <p:stCondLst>
                                    <p:cond delay="0"/>
                                  </p:stCondLst>
                                  <p:childTnLst>
                                    <p:set>
                                      <p:cBhvr>
                                        <p:cTn id="37" dur="1" fill="hold">
                                          <p:stCondLst>
                                            <p:cond delay="0"/>
                                          </p:stCondLst>
                                        </p:cTn>
                                        <p:tgtEl>
                                          <p:spTgt spid="173"/>
                                        </p:tgtEl>
                                        <p:attrNameLst>
                                          <p:attrName>style.visibility</p:attrName>
                                        </p:attrNameLst>
                                      </p:cBhvr>
                                      <p:to>
                                        <p:strVal val="visible"/>
                                      </p:to>
                                    </p:set>
                                    <p:animEffect transition="in" filter="fade">
                                      <p:cBhvr>
                                        <p:cTn id="38" dur="500"/>
                                        <p:tgtEl>
                                          <p:spTgt spid="173"/>
                                        </p:tgtEl>
                                      </p:cBhvr>
                                    </p:animEffect>
                                  </p:childTnLst>
                                </p:cTn>
                              </p:par>
                              <p:par>
                                <p:cTn id="39" presetID="10" presetClass="entr" presetSubtype="0" fill="hold" nodeType="withEffect">
                                  <p:stCondLst>
                                    <p:cond delay="0"/>
                                  </p:stCondLst>
                                  <p:childTnLst>
                                    <p:set>
                                      <p:cBhvr>
                                        <p:cTn id="40" dur="1" fill="hold">
                                          <p:stCondLst>
                                            <p:cond delay="0"/>
                                          </p:stCondLst>
                                        </p:cTn>
                                        <p:tgtEl>
                                          <p:spTgt spid="174"/>
                                        </p:tgtEl>
                                        <p:attrNameLst>
                                          <p:attrName>style.visibility</p:attrName>
                                        </p:attrNameLst>
                                      </p:cBhvr>
                                      <p:to>
                                        <p:strVal val="visible"/>
                                      </p:to>
                                    </p:set>
                                    <p:animEffect transition="in" filter="fade">
                                      <p:cBhvr>
                                        <p:cTn id="41" dur="500"/>
                                        <p:tgtEl>
                                          <p:spTgt spid="17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5"/>
                                        </p:tgtEl>
                                        <p:attrNameLst>
                                          <p:attrName>style.visibility</p:attrName>
                                        </p:attrNameLst>
                                      </p:cBhvr>
                                      <p:to>
                                        <p:strVal val="visible"/>
                                      </p:to>
                                    </p:set>
                                    <p:animEffect transition="in" filter="fade">
                                      <p:cBhvr>
                                        <p:cTn id="44" dur="500"/>
                                        <p:tgtEl>
                                          <p:spTgt spid="175"/>
                                        </p:tgtEl>
                                      </p:cBhvr>
                                    </p:animEffect>
                                  </p:childTnLst>
                                </p:cTn>
                              </p:par>
                              <p:par>
                                <p:cTn id="45" presetID="10" presetClass="entr" presetSubtype="0" fill="hold" nodeType="withEffect">
                                  <p:stCondLst>
                                    <p:cond delay="0"/>
                                  </p:stCondLst>
                                  <p:childTnLst>
                                    <p:set>
                                      <p:cBhvr>
                                        <p:cTn id="46" presetID="59" presetClass="entr" dur="1" fill="hold">
                                          <p:stCondLst>
                                            <p:cond delay="0"/>
                                          </p:stCondLst>
                                        </p:cTn>
                                        <p:tgtEl>
                                          <p:spTgt spid="176"/>
                                        </p:tgtEl>
                                        <p:attrNameLst>
                                          <p:attrName>style.visibility</p:attrName>
                                        </p:attrNameLst>
                                      </p:cBhvr>
                                      <p:to>
                                        <p:strVal val="visible"/>
                                      </p:to>
                                    </p:set>
                                    <p:animEffect transition="in" filter="fade">
                                      <p:cBhvr>
                                        <p:cTn id="47" dur="500"/>
                                        <p:tgtEl>
                                          <p:spTgt spid="176"/>
                                        </p:tgtEl>
                                      </p:cBhvr>
                                    </p:animEffect>
                                  </p:childTnLst>
                                </p:cTn>
                              </p:par>
                              <p:par>
                                <p:cTn id="48" presetID="10" presetClass="entr" presetSubtype="0" fill="hold" nodeType="withEffect">
                                  <p:stCondLst>
                                    <p:cond delay="0"/>
                                  </p:stCondLst>
                                  <p:childTnLst>
                                    <p:set>
                                      <p:cBhvr>
                                        <p:cTn id="49" dur="1" fill="hold">
                                          <p:stCondLst>
                                            <p:cond delay="0"/>
                                          </p:stCondLst>
                                        </p:cTn>
                                        <p:tgtEl>
                                          <p:spTgt spid="184"/>
                                        </p:tgtEl>
                                        <p:attrNameLst>
                                          <p:attrName>style.visibility</p:attrName>
                                        </p:attrNameLst>
                                      </p:cBhvr>
                                      <p:to>
                                        <p:strVal val="visible"/>
                                      </p:to>
                                    </p:set>
                                    <p:animEffect transition="in" filter="fade">
                                      <p:cBhvr>
                                        <p:cTn id="50" dur="500"/>
                                        <p:tgtEl>
                                          <p:spTgt spid="184"/>
                                        </p:tgtEl>
                                      </p:cBhvr>
                                    </p:animEffect>
                                  </p:childTnLst>
                                </p:cTn>
                              </p:par>
                              <p:par>
                                <p:cTn id="51" presetID="10" presetClass="entr" presetSubtype="0" fill="hold" nodeType="withEffect">
                                  <p:stCondLst>
                                    <p:cond delay="0"/>
                                  </p:stCondLst>
                                  <p:childTnLst>
                                    <p:set>
                                      <p:cBhvr>
                                        <p:cTn id="52" dur="1" fill="hold">
                                          <p:stCondLst>
                                            <p:cond delay="0"/>
                                          </p:stCondLst>
                                        </p:cTn>
                                        <p:tgtEl>
                                          <p:spTgt spid="185"/>
                                        </p:tgtEl>
                                        <p:attrNameLst>
                                          <p:attrName>style.visibility</p:attrName>
                                        </p:attrNameLst>
                                      </p:cBhvr>
                                      <p:to>
                                        <p:strVal val="visible"/>
                                      </p:to>
                                    </p:set>
                                    <p:animEffect transition="in" filter="fade">
                                      <p:cBhvr>
                                        <p:cTn id="53" dur="500"/>
                                        <p:tgtEl>
                                          <p:spTgt spid="185"/>
                                        </p:tgtEl>
                                      </p:cBhvr>
                                    </p:animEffect>
                                  </p:childTnLst>
                                </p:cTn>
                              </p:par>
                              <p:par>
                                <p:cTn id="54" presetID="10" presetClass="entr" presetSubtype="0" fill="hold" nodeType="withEffect">
                                  <p:stCondLst>
                                    <p:cond delay="0"/>
                                  </p:stCondLst>
                                  <p:childTnLst>
                                    <p:set>
                                      <p:cBhvr>
                                        <p:cTn id="55" dur="1" fill="hold">
                                          <p:stCondLst>
                                            <p:cond delay="0"/>
                                          </p:stCondLst>
                                        </p:cTn>
                                        <p:tgtEl>
                                          <p:spTgt spid="186"/>
                                        </p:tgtEl>
                                        <p:attrNameLst>
                                          <p:attrName>style.visibility</p:attrName>
                                        </p:attrNameLst>
                                      </p:cBhvr>
                                      <p:to>
                                        <p:strVal val="visible"/>
                                      </p:to>
                                    </p:set>
                                    <p:animEffect transition="in" filter="fade">
                                      <p:cBhvr>
                                        <p:cTn id="56" dur="500"/>
                                        <p:tgtEl>
                                          <p:spTgt spid="186"/>
                                        </p:tgtEl>
                                      </p:cBhvr>
                                    </p:animEffect>
                                  </p:childTnLst>
                                </p:cTn>
                              </p:par>
                              <p:par>
                                <p:cTn id="57" presetID="10" presetClass="entr" presetSubtype="0" fill="hold" nodeType="withEffect">
                                  <p:stCondLst>
                                    <p:cond delay="0"/>
                                  </p:stCondLst>
                                  <p:childTnLst>
                                    <p:set>
                                      <p:cBhvr>
                                        <p:cTn id="58" dur="1" fill="hold">
                                          <p:stCondLst>
                                            <p:cond delay="0"/>
                                          </p:stCondLst>
                                        </p:cTn>
                                        <p:tgtEl>
                                          <p:spTgt spid="187"/>
                                        </p:tgtEl>
                                        <p:attrNameLst>
                                          <p:attrName>style.visibility</p:attrName>
                                        </p:attrNameLst>
                                      </p:cBhvr>
                                      <p:to>
                                        <p:strVal val="visible"/>
                                      </p:to>
                                    </p:set>
                                    <p:animEffect transition="in" filter="fade">
                                      <p:cBhvr>
                                        <p:cTn id="59" dur="500"/>
                                        <p:tgtEl>
                                          <p:spTgt spid="187"/>
                                        </p:tgtEl>
                                      </p:cBhvr>
                                    </p:animEffect>
                                  </p:childTnLst>
                                </p:cTn>
                              </p:par>
                              <p:par>
                                <p:cTn id="60" presetID="10" presetClass="entr" presetSubtype="0" fill="hold" nodeType="withEffect">
                                  <p:stCondLst>
                                    <p:cond delay="0"/>
                                  </p:stCondLst>
                                  <p:childTnLst>
                                    <p:set>
                                      <p:cBhvr>
                                        <p:cTn id="61" dur="1" fill="hold">
                                          <p:stCondLst>
                                            <p:cond delay="0"/>
                                          </p:stCondLst>
                                        </p:cTn>
                                        <p:tgtEl>
                                          <p:spTgt spid="188"/>
                                        </p:tgtEl>
                                        <p:attrNameLst>
                                          <p:attrName>style.visibility</p:attrName>
                                        </p:attrNameLst>
                                      </p:cBhvr>
                                      <p:to>
                                        <p:strVal val="visible"/>
                                      </p:to>
                                    </p:set>
                                    <p:animEffect transition="in" filter="fade">
                                      <p:cBhvr>
                                        <p:cTn id="62" dur="500"/>
                                        <p:tgtEl>
                                          <p:spTgt spid="188"/>
                                        </p:tgtEl>
                                      </p:cBhvr>
                                    </p:animEffect>
                                  </p:childTnLst>
                                </p:cTn>
                              </p:par>
                              <p:par>
                                <p:cTn id="63" presetID="10" presetClass="entr" presetSubtype="0" fill="hold" nodeType="withEffect">
                                  <p:stCondLst>
                                    <p:cond delay="0"/>
                                  </p:stCondLst>
                                  <p:childTnLst>
                                    <p:set>
                                      <p:cBhvr>
                                        <p:cTn id="64" dur="1" fill="hold">
                                          <p:stCondLst>
                                            <p:cond delay="0"/>
                                          </p:stCondLst>
                                        </p:cTn>
                                        <p:tgtEl>
                                          <p:spTgt spid="189"/>
                                        </p:tgtEl>
                                        <p:attrNameLst>
                                          <p:attrName>style.visibility</p:attrName>
                                        </p:attrNameLst>
                                      </p:cBhvr>
                                      <p:to>
                                        <p:strVal val="visible"/>
                                      </p:to>
                                    </p:set>
                                    <p:animEffect transition="in" filter="fade">
                                      <p:cBhvr>
                                        <p:cTn id="65" dur="500"/>
                                        <p:tgtEl>
                                          <p:spTgt spid="189"/>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90"/>
                                        </p:tgtEl>
                                        <p:attrNameLst>
                                          <p:attrName>style.visibility</p:attrName>
                                        </p:attrNameLst>
                                      </p:cBhvr>
                                      <p:to>
                                        <p:strVal val="visible"/>
                                      </p:to>
                                    </p:set>
                                    <p:animEffect transition="in" filter="fade">
                                      <p:cBhvr>
                                        <p:cTn id="68" dur="500"/>
                                        <p:tgtEl>
                                          <p:spTgt spid="190"/>
                                        </p:tgtEl>
                                      </p:cBhvr>
                                    </p:animEffect>
                                  </p:childTnLst>
                                </p:cTn>
                              </p:par>
                              <p:par>
                                <p:cTn id="69" presetID="10" presetClass="entr" presetSubtype="0" fill="hold" nodeType="withEffect">
                                  <p:stCondLst>
                                    <p:cond delay="0"/>
                                  </p:stCondLst>
                                  <p:childTnLst>
                                    <p:set>
                                      <p:cBhvr>
                                        <p:cTn id="70" presetID="59" presetClass="entr" dur="1" fill="hold">
                                          <p:stCondLst>
                                            <p:cond delay="0"/>
                                          </p:stCondLst>
                                        </p:cTn>
                                        <p:tgtEl>
                                          <p:spTgt spid="191"/>
                                        </p:tgtEl>
                                        <p:attrNameLst>
                                          <p:attrName>style.visibility</p:attrName>
                                        </p:attrNameLst>
                                      </p:cBhvr>
                                      <p:to>
                                        <p:strVal val="visible"/>
                                      </p:to>
                                    </p:set>
                                    <p:animEffect transition="in" filter="fade">
                                      <p:cBhvr>
                                        <p:cTn id="71" dur="500"/>
                                        <p:tgtEl>
                                          <p:spTgt spid="191"/>
                                        </p:tgtEl>
                                      </p:cBhvr>
                                    </p:animEffect>
                                  </p:childTnLst>
                                </p:cTn>
                              </p:par>
                              <p:par>
                                <p:cTn id="72" presetID="10" presetClass="entr" presetSubtype="0" fill="hold" nodeType="withEffect">
                                  <p:stCondLst>
                                    <p:cond delay="0"/>
                                  </p:stCondLst>
                                  <p:childTnLst>
                                    <p:set>
                                      <p:cBhvr>
                                        <p:cTn id="73" dur="1" fill="hold">
                                          <p:stCondLst>
                                            <p:cond delay="0"/>
                                          </p:stCondLst>
                                        </p:cTn>
                                        <p:tgtEl>
                                          <p:spTgt spid="192"/>
                                        </p:tgtEl>
                                        <p:attrNameLst>
                                          <p:attrName>style.visibility</p:attrName>
                                        </p:attrNameLst>
                                      </p:cBhvr>
                                      <p:to>
                                        <p:strVal val="visible"/>
                                      </p:to>
                                    </p:set>
                                    <p:animEffect transition="in" filter="fade">
                                      <p:cBhvr>
                                        <p:cTn id="74" dur="500"/>
                                        <p:tgtEl>
                                          <p:spTgt spid="192"/>
                                        </p:tgtEl>
                                      </p:cBhvr>
                                    </p:animEffect>
                                  </p:childTnLst>
                                </p:cTn>
                              </p:par>
                              <p:par>
                                <p:cTn id="75" presetID="10" presetClass="entr" presetSubtype="0" fill="hold" nodeType="withEffect">
                                  <p:stCondLst>
                                    <p:cond delay="0"/>
                                  </p:stCondLst>
                                  <p:childTnLst>
                                    <p:set>
                                      <p:cBhvr>
                                        <p:cTn id="76" dur="1" fill="hold">
                                          <p:stCondLst>
                                            <p:cond delay="0"/>
                                          </p:stCondLst>
                                        </p:cTn>
                                        <p:tgtEl>
                                          <p:spTgt spid="193"/>
                                        </p:tgtEl>
                                        <p:attrNameLst>
                                          <p:attrName>style.visibility</p:attrName>
                                        </p:attrNameLst>
                                      </p:cBhvr>
                                      <p:to>
                                        <p:strVal val="visible"/>
                                      </p:to>
                                    </p:set>
                                    <p:animEffect transition="in" filter="fade">
                                      <p:cBhvr>
                                        <p:cTn id="77" dur="500"/>
                                        <p:tgtEl>
                                          <p:spTgt spid="193"/>
                                        </p:tgtEl>
                                      </p:cBhvr>
                                    </p:animEffect>
                                  </p:childTnLst>
                                </p:cTn>
                              </p:par>
                              <p:par>
                                <p:cTn id="78" presetID="10" presetClass="entr" presetSubtype="0" fill="hold" nodeType="withEffect">
                                  <p:stCondLst>
                                    <p:cond delay="0"/>
                                  </p:stCondLst>
                                  <p:childTnLst>
                                    <p:set>
                                      <p:cBhvr>
                                        <p:cTn id="79" dur="1" fill="hold">
                                          <p:stCondLst>
                                            <p:cond delay="0"/>
                                          </p:stCondLst>
                                        </p:cTn>
                                        <p:tgtEl>
                                          <p:spTgt spid="194"/>
                                        </p:tgtEl>
                                        <p:attrNameLst>
                                          <p:attrName>style.visibility</p:attrName>
                                        </p:attrNameLst>
                                      </p:cBhvr>
                                      <p:to>
                                        <p:strVal val="visible"/>
                                      </p:to>
                                    </p:set>
                                    <p:animEffect transition="in" filter="fade">
                                      <p:cBhvr>
                                        <p:cTn id="80" dur="500"/>
                                        <p:tgtEl>
                                          <p:spTgt spid="194"/>
                                        </p:tgtEl>
                                      </p:cBhvr>
                                    </p:animEffect>
                                  </p:childTnLst>
                                </p:cTn>
                              </p:par>
                              <p:par>
                                <p:cTn id="81" presetID="10" presetClass="entr" presetSubtype="0" fill="hold" nodeType="withEffect">
                                  <p:stCondLst>
                                    <p:cond delay="0"/>
                                  </p:stCondLst>
                                  <p:childTnLst>
                                    <p:set>
                                      <p:cBhvr>
                                        <p:cTn id="82" dur="1" fill="hold">
                                          <p:stCondLst>
                                            <p:cond delay="0"/>
                                          </p:stCondLst>
                                        </p:cTn>
                                        <p:tgtEl>
                                          <p:spTgt spid="195"/>
                                        </p:tgtEl>
                                        <p:attrNameLst>
                                          <p:attrName>style.visibility</p:attrName>
                                        </p:attrNameLst>
                                      </p:cBhvr>
                                      <p:to>
                                        <p:strVal val="visible"/>
                                      </p:to>
                                    </p:set>
                                    <p:animEffect transition="in" filter="fade">
                                      <p:cBhvr>
                                        <p:cTn id="83" dur="500"/>
                                        <p:tgtEl>
                                          <p:spTgt spid="195"/>
                                        </p:tgtEl>
                                      </p:cBhvr>
                                    </p:animEffect>
                                  </p:childTnLst>
                                </p:cTn>
                              </p:par>
                              <p:par>
                                <p:cTn id="84" presetID="10" presetClass="entr" presetSubtype="0" fill="hold" nodeType="withEffect">
                                  <p:stCondLst>
                                    <p:cond delay="0"/>
                                  </p:stCondLst>
                                  <p:childTnLst>
                                    <p:set>
                                      <p:cBhvr>
                                        <p:cTn id="85" dur="1" fill="hold">
                                          <p:stCondLst>
                                            <p:cond delay="0"/>
                                          </p:stCondLst>
                                        </p:cTn>
                                        <p:tgtEl>
                                          <p:spTgt spid="196"/>
                                        </p:tgtEl>
                                        <p:attrNameLst>
                                          <p:attrName>style.visibility</p:attrName>
                                        </p:attrNameLst>
                                      </p:cBhvr>
                                      <p:to>
                                        <p:strVal val="visible"/>
                                      </p:to>
                                    </p:set>
                                    <p:animEffect transition="in" filter="fade">
                                      <p:cBhvr>
                                        <p:cTn id="86" dur="500"/>
                                        <p:tgtEl>
                                          <p:spTgt spid="196"/>
                                        </p:tgtEl>
                                      </p:cBhvr>
                                    </p:animEffect>
                                  </p:childTnLst>
                                </p:cTn>
                              </p:par>
                              <p:par>
                                <p:cTn id="87" presetID="10" presetClass="entr" presetSubtype="0" fill="hold" nodeType="withEffect">
                                  <p:stCondLst>
                                    <p:cond delay="0"/>
                                  </p:stCondLst>
                                  <p:childTnLst>
                                    <p:set>
                                      <p:cBhvr>
                                        <p:cTn id="88" dur="1" fill="hold">
                                          <p:stCondLst>
                                            <p:cond delay="0"/>
                                          </p:stCondLst>
                                        </p:cTn>
                                        <p:tgtEl>
                                          <p:spTgt spid="197"/>
                                        </p:tgtEl>
                                        <p:attrNameLst>
                                          <p:attrName>style.visibility</p:attrName>
                                        </p:attrNameLst>
                                      </p:cBhvr>
                                      <p:to>
                                        <p:strVal val="visible"/>
                                      </p:to>
                                    </p:set>
                                    <p:animEffect transition="in" filter="fade">
                                      <p:cBhvr>
                                        <p:cTn id="89" dur="500"/>
                                        <p:tgtEl>
                                          <p:spTgt spid="197"/>
                                        </p:tgtEl>
                                      </p:cBhvr>
                                    </p:animEffect>
                                  </p:childTnLst>
                                </p:cTn>
                              </p:par>
                              <p:par>
                                <p:cTn id="90" presetID="10" presetClass="entr" presetSubtype="0" fill="hold" nodeType="withEffect">
                                  <p:stCondLst>
                                    <p:cond delay="0"/>
                                  </p:stCondLst>
                                  <p:childTnLst>
                                    <p:set>
                                      <p:cBhvr>
                                        <p:cTn id="91" dur="1" fill="hold">
                                          <p:stCondLst>
                                            <p:cond delay="0"/>
                                          </p:stCondLst>
                                        </p:cTn>
                                        <p:tgtEl>
                                          <p:spTgt spid="198"/>
                                        </p:tgtEl>
                                        <p:attrNameLst>
                                          <p:attrName>style.visibility</p:attrName>
                                        </p:attrNameLst>
                                      </p:cBhvr>
                                      <p:to>
                                        <p:strVal val="visible"/>
                                      </p:to>
                                    </p:set>
                                    <p:animEffect transition="in" filter="fade">
                                      <p:cBhvr>
                                        <p:cTn id="92" dur="500"/>
                                        <p:tgtEl>
                                          <p:spTgt spid="198"/>
                                        </p:tgtEl>
                                      </p:cBhvr>
                                    </p:animEffect>
                                  </p:childTnLst>
                                </p:cTn>
                              </p:par>
                            </p:childTnLst>
                          </p:cTn>
                        </p:par>
                        <p:par>
                          <p:cTn id="93" fill="hold">
                            <p:stCondLst>
                              <p:cond delay="800"/>
                            </p:stCondLst>
                            <p:childTnLst>
                              <p:par>
                                <p:cTn id="94" presetID="42" presetClass="entr" presetSubtype="0" fill="hold" nodeType="afterEffect">
                                  <p:stCondLst>
                                    <p:cond delay="0"/>
                                  </p:stCondLst>
                                  <p:childTnLst>
                                    <p:set>
                                      <p:cBhvr>
                                        <p:cTn id="95" dur="1" fill="hold">
                                          <p:stCondLst>
                                            <p:cond delay="0"/>
                                          </p:stCondLst>
                                        </p:cTn>
                                        <p:tgtEl>
                                          <p:spTgt spid="199"/>
                                        </p:tgtEl>
                                        <p:attrNameLst>
                                          <p:attrName>style.visibility</p:attrName>
                                        </p:attrNameLst>
                                      </p:cBhvr>
                                      <p:to>
                                        <p:strVal val="visible"/>
                                      </p:to>
                                    </p:set>
                                    <p:animEffect transition="in" filter="fade">
                                      <p:cBhvr>
                                        <p:cTn id="96" dur="500"/>
                                        <p:tgtEl>
                                          <p:spTgt spid="199"/>
                                        </p:tgtEl>
                                      </p:cBhvr>
                                    </p:animEffect>
                                    <p:anim calcmode="lin" valueType="num">
                                      <p:cBhvr>
                                        <p:cTn id="97" dur="500" fill="hold"/>
                                        <p:tgtEl>
                                          <p:spTgt spid="199"/>
                                        </p:tgtEl>
                                        <p:attrNameLst>
                                          <p:attrName>ppt_x</p:attrName>
                                        </p:attrNameLst>
                                      </p:cBhvr>
                                      <p:tavLst>
                                        <p:tav tm="0">
                                          <p:val>
                                            <p:strVal val="#ppt_x"/>
                                          </p:val>
                                        </p:tav>
                                        <p:tav tm="100000">
                                          <p:val>
                                            <p:strVal val="#ppt_x"/>
                                          </p:val>
                                        </p:tav>
                                      </p:tavLst>
                                    </p:anim>
                                    <p:anim calcmode="lin" valueType="num">
                                      <p:cBhvr>
                                        <p:cTn id="98" dur="500" fill="hold"/>
                                        <p:tgtEl>
                                          <p:spTgt spid="19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67" grpId="0"/>
      <p:bldP spid="168" grpId="0" animBg="1"/>
      <p:bldP spid="175" grpId="0"/>
      <p:bldP spid="19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9A83E-5AFF-4387-92E5-0F955CEA14F7}"/>
              </a:ext>
            </a:extLst>
          </p:cNvPr>
          <p:cNvSpPr>
            <a:spLocks noGrp="1"/>
          </p:cNvSpPr>
          <p:nvPr>
            <p:ph type="title"/>
          </p:nvPr>
        </p:nvSpPr>
        <p:spPr>
          <a:xfrm>
            <a:off x="465138" y="632779"/>
            <a:ext cx="11533187" cy="411162"/>
          </a:xfrm>
        </p:spPr>
        <p:txBody>
          <a:bodyPr/>
          <a:lstStyle/>
          <a:p>
            <a:r>
              <a:rPr lang="en-US" dirty="0"/>
              <a:t>Explore corporate concerns with open-source software components</a:t>
            </a:r>
          </a:p>
        </p:txBody>
      </p:sp>
      <p:pic>
        <p:nvPicPr>
          <p:cNvPr id="40" name="Picture 39" descr="Icon of tools">
            <a:extLst>
              <a:ext uri="{FF2B5EF4-FFF2-40B4-BE49-F238E27FC236}">
                <a16:creationId xmlns:a16="http://schemas.microsoft.com/office/drawing/2014/main" id="{2B4CB5E3-E61C-4819-8148-3FD58770EFC6}"/>
              </a:ext>
            </a:extLst>
          </p:cNvPr>
          <p:cNvPicPr>
            <a:picLocks noChangeAspect="1"/>
          </p:cNvPicPr>
          <p:nvPr/>
        </p:nvPicPr>
        <p:blipFill>
          <a:blip r:embed="rId3"/>
          <a:stretch>
            <a:fillRect/>
          </a:stretch>
        </p:blipFill>
        <p:spPr>
          <a:xfrm>
            <a:off x="431803" y="1268746"/>
            <a:ext cx="783336" cy="784860"/>
          </a:xfrm>
          <a:prstGeom prst="rect">
            <a:avLst/>
          </a:prstGeom>
        </p:spPr>
      </p:pic>
      <p:sp>
        <p:nvSpPr>
          <p:cNvPr id="5" name="Rectangle 4">
            <a:extLst>
              <a:ext uri="{FF2B5EF4-FFF2-40B4-BE49-F238E27FC236}">
                <a16:creationId xmlns:a16="http://schemas.microsoft.com/office/drawing/2014/main" id="{E5F7B95A-E382-451C-9D99-7C949FF25D44}"/>
              </a:ext>
            </a:extLst>
          </p:cNvPr>
          <p:cNvSpPr>
            <a:spLocks/>
          </p:cNvSpPr>
          <p:nvPr/>
        </p:nvSpPr>
        <p:spPr>
          <a:xfrm>
            <a:off x="1432193" y="1355964"/>
            <a:ext cx="10577246" cy="610424"/>
          </a:xfrm>
          <a:prstGeom prst="rect">
            <a:avLst/>
          </a:prstGeom>
        </p:spPr>
        <p:txBody>
          <a:bodyPr wrap="square" lIns="0" tIns="0" rIns="0" bIns="0" anchor="ctr">
            <a:spAutoFit/>
          </a:bodyPr>
          <a:lstStyle/>
          <a:p>
            <a:pPr>
              <a:spcBef>
                <a:spcPts val="200"/>
              </a:spcBef>
            </a:pPr>
            <a:r>
              <a:rPr lang="en-US" sz="2000" dirty="0">
                <a:latin typeface="+mj-lt"/>
              </a:rPr>
              <a:t>It may have low quality:</a:t>
            </a:r>
          </a:p>
          <a:p>
            <a:pPr marL="0" lvl="1">
              <a:spcBef>
                <a:spcPts val="200"/>
              </a:spcBef>
            </a:pPr>
            <a:r>
              <a:rPr lang="en-US" dirty="0"/>
              <a:t>This would impact maintainability, reliability, and performance of the overall solution</a:t>
            </a:r>
          </a:p>
        </p:txBody>
      </p:sp>
      <p:cxnSp>
        <p:nvCxnSpPr>
          <p:cNvPr id="18" name="Straight Connector 17">
            <a:extLst>
              <a:ext uri="{FF2B5EF4-FFF2-40B4-BE49-F238E27FC236}">
                <a16:creationId xmlns:a16="http://schemas.microsoft.com/office/drawing/2014/main" id="{21039F9E-D4AC-40CC-8BCF-6776A27D5335}"/>
              </a:ext>
              <a:ext uri="{C183D7F6-B498-43B3-948B-1728B52AA6E4}">
                <adec:decorative xmlns:adec="http://schemas.microsoft.com/office/drawing/2017/decorative" val="1"/>
              </a:ext>
            </a:extLst>
          </p:cNvPr>
          <p:cNvCxnSpPr>
            <a:cxnSpLocks/>
          </p:cNvCxnSpPr>
          <p:nvPr/>
        </p:nvCxnSpPr>
        <p:spPr>
          <a:xfrm>
            <a:off x="1473200" y="2194780"/>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Icon of a bar chart with circles on the bottom">
            <a:extLst>
              <a:ext uri="{FF2B5EF4-FFF2-40B4-BE49-F238E27FC236}">
                <a16:creationId xmlns:a16="http://schemas.microsoft.com/office/drawing/2014/main" id="{43B22573-61B9-433B-8102-80F113C55DC0}"/>
              </a:ext>
            </a:extLst>
          </p:cNvPr>
          <p:cNvPicPr>
            <a:picLocks noChangeAspect="1"/>
          </p:cNvPicPr>
          <p:nvPr/>
        </p:nvPicPr>
        <p:blipFill>
          <a:blip r:embed="rId4"/>
          <a:stretch>
            <a:fillRect/>
          </a:stretch>
        </p:blipFill>
        <p:spPr>
          <a:xfrm>
            <a:off x="431803" y="2387997"/>
            <a:ext cx="784860" cy="786384"/>
          </a:xfrm>
          <a:prstGeom prst="rect">
            <a:avLst/>
          </a:prstGeom>
        </p:spPr>
      </p:pic>
      <p:sp>
        <p:nvSpPr>
          <p:cNvPr id="6" name="Rectangle 5">
            <a:extLst>
              <a:ext uri="{FF2B5EF4-FFF2-40B4-BE49-F238E27FC236}">
                <a16:creationId xmlns:a16="http://schemas.microsoft.com/office/drawing/2014/main" id="{3C5F2AF5-E8F7-45BC-BF9D-59CA72BCEEED}"/>
              </a:ext>
            </a:extLst>
          </p:cNvPr>
          <p:cNvSpPr>
            <a:spLocks/>
          </p:cNvSpPr>
          <p:nvPr/>
        </p:nvSpPr>
        <p:spPr>
          <a:xfrm>
            <a:off x="1432193" y="2335954"/>
            <a:ext cx="10577246" cy="887422"/>
          </a:xfrm>
          <a:prstGeom prst="rect">
            <a:avLst/>
          </a:prstGeom>
        </p:spPr>
        <p:txBody>
          <a:bodyPr wrap="square" lIns="0" tIns="0" rIns="0" bIns="0" anchor="ctr">
            <a:spAutoFit/>
          </a:bodyPr>
          <a:lstStyle/>
          <a:p>
            <a:pPr>
              <a:spcBef>
                <a:spcPts val="200"/>
              </a:spcBef>
            </a:pPr>
            <a:r>
              <a:rPr lang="en-US" sz="2000" dirty="0">
                <a:latin typeface="+mj-lt"/>
              </a:rPr>
              <a:t>It may have no active maintenance:</a:t>
            </a:r>
          </a:p>
          <a:p>
            <a:pPr marL="0" lvl="1">
              <a:spcBef>
                <a:spcPts val="200"/>
              </a:spcBef>
            </a:pPr>
            <a:r>
              <a:rPr lang="en-US" dirty="0"/>
              <a:t>The code would not evolve over time or be alterable without making a copy of the source code, effectively forking away from the origin</a:t>
            </a:r>
          </a:p>
        </p:txBody>
      </p:sp>
      <p:cxnSp>
        <p:nvCxnSpPr>
          <p:cNvPr id="20" name="Straight Connector 19">
            <a:extLst>
              <a:ext uri="{FF2B5EF4-FFF2-40B4-BE49-F238E27FC236}">
                <a16:creationId xmlns:a16="http://schemas.microsoft.com/office/drawing/2014/main" id="{D95C6E39-01D1-46AB-A167-C656818E4BD6}"/>
              </a:ext>
              <a:ext uri="{C183D7F6-B498-43B3-948B-1728B52AA6E4}">
                <adec:decorative xmlns:adec="http://schemas.microsoft.com/office/drawing/2017/decorative" val="1"/>
              </a:ext>
            </a:extLst>
          </p:cNvPr>
          <p:cNvCxnSpPr>
            <a:cxnSpLocks/>
          </p:cNvCxnSpPr>
          <p:nvPr/>
        </p:nvCxnSpPr>
        <p:spPr>
          <a:xfrm>
            <a:off x="1473200" y="3364550"/>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3" name="Picture 42" descr="Icon of three dots and outward pointing chevrons on left and right">
            <a:extLst>
              <a:ext uri="{FF2B5EF4-FFF2-40B4-BE49-F238E27FC236}">
                <a16:creationId xmlns:a16="http://schemas.microsoft.com/office/drawing/2014/main" id="{0A516DB2-BD79-40E3-9312-6018B5DFF005}"/>
              </a:ext>
            </a:extLst>
          </p:cNvPr>
          <p:cNvPicPr>
            <a:picLocks noChangeAspect="1"/>
          </p:cNvPicPr>
          <p:nvPr/>
        </p:nvPicPr>
        <p:blipFill>
          <a:blip r:embed="rId5"/>
          <a:stretch>
            <a:fillRect/>
          </a:stretch>
        </p:blipFill>
        <p:spPr>
          <a:xfrm>
            <a:off x="431803" y="3557767"/>
            <a:ext cx="783336" cy="783336"/>
          </a:xfrm>
          <a:prstGeom prst="rect">
            <a:avLst/>
          </a:prstGeom>
        </p:spPr>
      </p:pic>
      <p:sp>
        <p:nvSpPr>
          <p:cNvPr id="7" name="Rectangle 6">
            <a:extLst>
              <a:ext uri="{FF2B5EF4-FFF2-40B4-BE49-F238E27FC236}">
                <a16:creationId xmlns:a16="http://schemas.microsoft.com/office/drawing/2014/main" id="{65DC0EC4-A80B-4D6F-8CAA-1A5F3AC8C3E5}"/>
              </a:ext>
            </a:extLst>
          </p:cNvPr>
          <p:cNvSpPr>
            <a:spLocks/>
          </p:cNvSpPr>
          <p:nvPr/>
        </p:nvSpPr>
        <p:spPr>
          <a:xfrm>
            <a:off x="1432193" y="3505724"/>
            <a:ext cx="10577246" cy="887422"/>
          </a:xfrm>
          <a:prstGeom prst="rect">
            <a:avLst/>
          </a:prstGeom>
        </p:spPr>
        <p:txBody>
          <a:bodyPr wrap="square" lIns="0" tIns="0" rIns="0" bIns="0" anchor="ctr">
            <a:spAutoFit/>
          </a:bodyPr>
          <a:lstStyle/>
          <a:p>
            <a:pPr>
              <a:spcBef>
                <a:spcPts val="200"/>
              </a:spcBef>
            </a:pPr>
            <a:r>
              <a:rPr lang="en-US" sz="2000" dirty="0">
                <a:latin typeface="+mj-lt"/>
              </a:rPr>
              <a:t>It could contain malicious code:</a:t>
            </a:r>
          </a:p>
          <a:p>
            <a:pPr marL="0" lvl="1">
              <a:spcBef>
                <a:spcPts val="200"/>
              </a:spcBef>
            </a:pPr>
            <a:r>
              <a:rPr lang="en-US" dirty="0"/>
              <a:t>The entire system that includes and uses the code will be compromised. Potentially the entire company’s IT and infrastructure is affected</a:t>
            </a:r>
          </a:p>
        </p:txBody>
      </p:sp>
      <p:cxnSp>
        <p:nvCxnSpPr>
          <p:cNvPr id="21" name="Straight Connector 20">
            <a:extLst>
              <a:ext uri="{FF2B5EF4-FFF2-40B4-BE49-F238E27FC236}">
                <a16:creationId xmlns:a16="http://schemas.microsoft.com/office/drawing/2014/main" id="{2C7EB4D8-CA92-41E8-8CE3-3AB4A9D88BDF}"/>
              </a:ext>
              <a:ext uri="{C183D7F6-B498-43B3-948B-1728B52AA6E4}">
                <adec:decorative xmlns:adec="http://schemas.microsoft.com/office/drawing/2017/decorative" val="1"/>
              </a:ext>
            </a:extLst>
          </p:cNvPr>
          <p:cNvCxnSpPr>
            <a:cxnSpLocks/>
          </p:cNvCxnSpPr>
          <p:nvPr/>
        </p:nvCxnSpPr>
        <p:spPr>
          <a:xfrm>
            <a:off x="1473200" y="4534320"/>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6" name="Picture 45" descr="Icon of coding brackets">
            <a:extLst>
              <a:ext uri="{FF2B5EF4-FFF2-40B4-BE49-F238E27FC236}">
                <a16:creationId xmlns:a16="http://schemas.microsoft.com/office/drawing/2014/main" id="{8BF0C6D0-8BB3-40C1-978E-65007C224951}"/>
              </a:ext>
            </a:extLst>
          </p:cNvPr>
          <p:cNvPicPr>
            <a:picLocks noChangeAspect="1"/>
          </p:cNvPicPr>
          <p:nvPr/>
        </p:nvPicPr>
        <p:blipFill>
          <a:blip r:embed="rId6"/>
          <a:stretch>
            <a:fillRect/>
          </a:stretch>
        </p:blipFill>
        <p:spPr>
          <a:xfrm>
            <a:off x="431803" y="4726775"/>
            <a:ext cx="783336" cy="784860"/>
          </a:xfrm>
          <a:prstGeom prst="rect">
            <a:avLst/>
          </a:prstGeom>
        </p:spPr>
      </p:pic>
      <p:sp>
        <p:nvSpPr>
          <p:cNvPr id="8" name="Rectangle 7">
            <a:extLst>
              <a:ext uri="{FF2B5EF4-FFF2-40B4-BE49-F238E27FC236}">
                <a16:creationId xmlns:a16="http://schemas.microsoft.com/office/drawing/2014/main" id="{EFB2E42B-54CC-421B-93D2-35157FE21B23}"/>
              </a:ext>
            </a:extLst>
          </p:cNvPr>
          <p:cNvSpPr>
            <a:spLocks/>
          </p:cNvSpPr>
          <p:nvPr/>
        </p:nvSpPr>
        <p:spPr>
          <a:xfrm>
            <a:off x="1432193" y="4675494"/>
            <a:ext cx="10577246" cy="887422"/>
          </a:xfrm>
          <a:prstGeom prst="rect">
            <a:avLst/>
          </a:prstGeom>
        </p:spPr>
        <p:txBody>
          <a:bodyPr wrap="square" lIns="0" tIns="0" rIns="0" bIns="0" anchor="ctr">
            <a:spAutoFit/>
          </a:bodyPr>
          <a:lstStyle/>
          <a:p>
            <a:pPr>
              <a:spcBef>
                <a:spcPts val="200"/>
              </a:spcBef>
            </a:pPr>
            <a:r>
              <a:rPr lang="en-US" sz="2000" dirty="0">
                <a:latin typeface="+mj-lt"/>
              </a:rPr>
              <a:t>It may have security vulnerabilities:</a:t>
            </a:r>
          </a:p>
          <a:p>
            <a:pPr marL="0" lvl="1">
              <a:spcBef>
                <a:spcPts val="200"/>
              </a:spcBef>
            </a:pPr>
            <a:r>
              <a:rPr lang="en-US" dirty="0"/>
              <a:t>The security of a software system is as good as its weakest part. Using source code with vulnerabilities makes the entire system susceptible to attack by hackers and misuse</a:t>
            </a:r>
          </a:p>
        </p:txBody>
      </p:sp>
      <p:cxnSp>
        <p:nvCxnSpPr>
          <p:cNvPr id="22" name="Straight Connector 21">
            <a:extLst>
              <a:ext uri="{FF2B5EF4-FFF2-40B4-BE49-F238E27FC236}">
                <a16:creationId xmlns:a16="http://schemas.microsoft.com/office/drawing/2014/main" id="{FBB9869A-0F53-4528-9DDA-A5BABDCF98A0}"/>
              </a:ext>
              <a:ext uri="{C183D7F6-B498-43B3-948B-1728B52AA6E4}">
                <adec:decorative xmlns:adec="http://schemas.microsoft.com/office/drawing/2017/decorative" val="1"/>
              </a:ext>
            </a:extLst>
          </p:cNvPr>
          <p:cNvCxnSpPr>
            <a:cxnSpLocks/>
          </p:cNvCxnSpPr>
          <p:nvPr/>
        </p:nvCxnSpPr>
        <p:spPr>
          <a:xfrm>
            <a:off x="1473200" y="5704090"/>
            <a:ext cx="1053623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descr="Icon of a security lock">
            <a:extLst>
              <a:ext uri="{FF2B5EF4-FFF2-40B4-BE49-F238E27FC236}">
                <a16:creationId xmlns:a16="http://schemas.microsoft.com/office/drawing/2014/main" id="{CB660C30-7C86-4153-96A9-8B51A38A045A}"/>
              </a:ext>
            </a:extLst>
          </p:cNvPr>
          <p:cNvPicPr>
            <a:picLocks noChangeAspect="1"/>
          </p:cNvPicPr>
          <p:nvPr/>
        </p:nvPicPr>
        <p:blipFill>
          <a:blip r:embed="rId7"/>
          <a:stretch>
            <a:fillRect/>
          </a:stretch>
        </p:blipFill>
        <p:spPr>
          <a:xfrm>
            <a:off x="431803" y="5845262"/>
            <a:ext cx="783336" cy="784860"/>
          </a:xfrm>
          <a:prstGeom prst="rect">
            <a:avLst/>
          </a:prstGeom>
        </p:spPr>
      </p:pic>
      <p:sp>
        <p:nvSpPr>
          <p:cNvPr id="4" name="Rectangle 3">
            <a:extLst>
              <a:ext uri="{FF2B5EF4-FFF2-40B4-BE49-F238E27FC236}">
                <a16:creationId xmlns:a16="http://schemas.microsoft.com/office/drawing/2014/main" id="{A234402E-FD7C-4242-85EA-6ACAE732E2FD}"/>
              </a:ext>
            </a:extLst>
          </p:cNvPr>
          <p:cNvSpPr>
            <a:spLocks/>
          </p:cNvSpPr>
          <p:nvPr/>
        </p:nvSpPr>
        <p:spPr>
          <a:xfrm>
            <a:off x="1432193" y="5932480"/>
            <a:ext cx="10577246" cy="610424"/>
          </a:xfrm>
          <a:prstGeom prst="rect">
            <a:avLst/>
          </a:prstGeom>
        </p:spPr>
        <p:txBody>
          <a:bodyPr wrap="square" lIns="0" tIns="0" rIns="0" bIns="0" anchor="ctr">
            <a:spAutoFit/>
          </a:bodyPr>
          <a:lstStyle/>
          <a:p>
            <a:pPr>
              <a:spcBef>
                <a:spcPts val="200"/>
              </a:spcBef>
            </a:pPr>
            <a:r>
              <a:rPr lang="en-US" sz="2000" b="1" dirty="0">
                <a:latin typeface="+mj-lt"/>
              </a:rPr>
              <a:t>It may have </a:t>
            </a:r>
            <a:r>
              <a:rPr lang="en-US" sz="2000" dirty="0">
                <a:latin typeface="+mj-lt"/>
              </a:rPr>
              <a:t>unfavorable</a:t>
            </a:r>
            <a:r>
              <a:rPr lang="en-US" sz="2000" b="1" dirty="0">
                <a:latin typeface="+mj-lt"/>
              </a:rPr>
              <a:t> licensing restrictions:</a:t>
            </a:r>
            <a:endParaRPr lang="en-US" sz="2000" dirty="0">
              <a:latin typeface="+mj-lt"/>
            </a:endParaRPr>
          </a:p>
          <a:p>
            <a:pPr marL="0" lvl="1">
              <a:spcBef>
                <a:spcPts val="200"/>
              </a:spcBef>
            </a:pPr>
            <a:r>
              <a:rPr lang="en-US" dirty="0"/>
              <a:t>The effect of a license can affect the entire solution that uses the open-source software</a:t>
            </a:r>
          </a:p>
        </p:txBody>
      </p:sp>
    </p:spTree>
    <p:extLst>
      <p:ext uri="{BB962C8B-B14F-4D97-AF65-F5344CB8AC3E}">
        <p14:creationId xmlns:p14="http://schemas.microsoft.com/office/powerpoint/2010/main" val="398139656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2E1E9-142E-49B2-A65B-46D36A572165}"/>
              </a:ext>
            </a:extLst>
          </p:cNvPr>
          <p:cNvSpPr>
            <a:spLocks noGrp="1"/>
          </p:cNvSpPr>
          <p:nvPr>
            <p:ph type="title"/>
          </p:nvPr>
        </p:nvSpPr>
        <p:spPr>
          <a:xfrm>
            <a:off x="465138" y="632779"/>
            <a:ext cx="11533187" cy="411162"/>
          </a:xfrm>
        </p:spPr>
        <p:txBody>
          <a:bodyPr/>
          <a:lstStyle/>
          <a:p>
            <a:r>
              <a:rPr lang="en-US" dirty="0"/>
              <a:t>Introduction to open-source licenses</a:t>
            </a:r>
          </a:p>
        </p:txBody>
      </p:sp>
      <p:sp>
        <p:nvSpPr>
          <p:cNvPr id="3" name="Rectangle 2">
            <a:extLst>
              <a:ext uri="{FF2B5EF4-FFF2-40B4-BE49-F238E27FC236}">
                <a16:creationId xmlns:a16="http://schemas.microsoft.com/office/drawing/2014/main" id="{32ED5412-A196-4F91-BAF1-62726A9B073C}"/>
              </a:ext>
            </a:extLst>
          </p:cNvPr>
          <p:cNvSpPr/>
          <p:nvPr/>
        </p:nvSpPr>
        <p:spPr>
          <a:xfrm>
            <a:off x="466343" y="1409876"/>
            <a:ext cx="11543094" cy="307777"/>
          </a:xfrm>
          <a:prstGeom prst="rect">
            <a:avLst/>
          </a:prstGeom>
        </p:spPr>
        <p:txBody>
          <a:bodyPr wrap="square" lIns="0" tIns="0" rIns="0" bIns="0">
            <a:spAutoFit/>
          </a:bodyPr>
          <a:lstStyle/>
          <a:p>
            <a:pPr lvl="0">
              <a:defRPr/>
            </a:pPr>
            <a:r>
              <a:rPr lang="en-US" sz="2000" dirty="0">
                <a:latin typeface="+mj-lt"/>
              </a:rPr>
              <a:t>According to the open-source definition of OpenSource.org a license should not:</a:t>
            </a:r>
          </a:p>
        </p:txBody>
      </p:sp>
      <p:pic>
        <p:nvPicPr>
          <p:cNvPr id="8" name="Picture 7" descr="Icon of two people">
            <a:extLst>
              <a:ext uri="{FF2B5EF4-FFF2-40B4-BE49-F238E27FC236}">
                <a16:creationId xmlns:a16="http://schemas.microsoft.com/office/drawing/2014/main" id="{09AAD6D9-EA0B-4876-9F04-0E436CA94E31}"/>
              </a:ext>
            </a:extLst>
          </p:cNvPr>
          <p:cNvPicPr>
            <a:picLocks noChangeAspect="1"/>
          </p:cNvPicPr>
          <p:nvPr/>
        </p:nvPicPr>
        <p:blipFill>
          <a:blip r:embed="rId3"/>
          <a:stretch>
            <a:fillRect/>
          </a:stretch>
        </p:blipFill>
        <p:spPr>
          <a:xfrm>
            <a:off x="431800" y="2012881"/>
            <a:ext cx="952500" cy="952500"/>
          </a:xfrm>
          <a:prstGeom prst="rect">
            <a:avLst/>
          </a:prstGeom>
        </p:spPr>
      </p:pic>
      <p:sp>
        <p:nvSpPr>
          <p:cNvPr id="58" name="Rectangle 57">
            <a:extLst>
              <a:ext uri="{FF2B5EF4-FFF2-40B4-BE49-F238E27FC236}">
                <a16:creationId xmlns:a16="http://schemas.microsoft.com/office/drawing/2014/main" id="{178D6D2F-4F6F-477F-AD34-EF08B47BBA11}"/>
              </a:ext>
            </a:extLst>
          </p:cNvPr>
          <p:cNvSpPr>
            <a:spLocks/>
          </p:cNvSpPr>
          <p:nvPr/>
        </p:nvSpPr>
        <p:spPr>
          <a:xfrm>
            <a:off x="1646238" y="2335243"/>
            <a:ext cx="10363199" cy="307777"/>
          </a:xfrm>
          <a:prstGeom prst="rect">
            <a:avLst/>
          </a:prstGeom>
        </p:spPr>
        <p:txBody>
          <a:bodyPr wrap="square" lIns="0" tIns="0" rIns="0" bIns="0" anchor="ctr">
            <a:spAutoFit/>
          </a:bodyPr>
          <a:lstStyle/>
          <a:p>
            <a:pPr>
              <a:spcBef>
                <a:spcPts val="600"/>
              </a:spcBef>
              <a:spcAft>
                <a:spcPts val="600"/>
              </a:spcAft>
            </a:pPr>
            <a:r>
              <a:rPr lang="en-US" sz="2000"/>
              <a:t>Discriminate against persons or groups</a:t>
            </a:r>
          </a:p>
        </p:txBody>
      </p:sp>
      <p:cxnSp>
        <p:nvCxnSpPr>
          <p:cNvPr id="62" name="Straight Connector 61">
            <a:extLst>
              <a:ext uri="{FF2B5EF4-FFF2-40B4-BE49-F238E27FC236}">
                <a16:creationId xmlns:a16="http://schemas.microsoft.com/office/drawing/2014/main" id="{F117B5C7-B860-4392-92D6-75760243CA23}"/>
              </a:ext>
              <a:ext uri="{C183D7F6-B498-43B3-948B-1728B52AA6E4}">
                <adec:decorative xmlns:adec="http://schemas.microsoft.com/office/drawing/2017/decorative" val="1"/>
              </a:ext>
            </a:extLst>
          </p:cNvPr>
          <p:cNvCxnSpPr>
            <a:cxnSpLocks/>
          </p:cNvCxnSpPr>
          <p:nvPr/>
        </p:nvCxnSpPr>
        <p:spPr>
          <a:xfrm>
            <a:off x="1646238" y="3092136"/>
            <a:ext cx="1035208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descr="Icon of a checkmark inside a badge">
            <a:extLst>
              <a:ext uri="{FF2B5EF4-FFF2-40B4-BE49-F238E27FC236}">
                <a16:creationId xmlns:a16="http://schemas.microsoft.com/office/drawing/2014/main" id="{A67E7B6F-FCB7-458A-965C-083F9CA18F5E}"/>
              </a:ext>
            </a:extLst>
          </p:cNvPr>
          <p:cNvPicPr>
            <a:picLocks noChangeAspect="1"/>
          </p:cNvPicPr>
          <p:nvPr/>
        </p:nvPicPr>
        <p:blipFill>
          <a:blip r:embed="rId4"/>
          <a:stretch>
            <a:fillRect/>
          </a:stretch>
        </p:blipFill>
        <p:spPr>
          <a:xfrm>
            <a:off x="431800" y="3218891"/>
            <a:ext cx="952500" cy="952500"/>
          </a:xfrm>
          <a:prstGeom prst="rect">
            <a:avLst/>
          </a:prstGeom>
        </p:spPr>
      </p:pic>
      <p:sp>
        <p:nvSpPr>
          <p:cNvPr id="59" name="Rectangle 58">
            <a:extLst>
              <a:ext uri="{FF2B5EF4-FFF2-40B4-BE49-F238E27FC236}">
                <a16:creationId xmlns:a16="http://schemas.microsoft.com/office/drawing/2014/main" id="{08FAD90B-19D5-4558-BCC5-B2DE7E689EE1}"/>
              </a:ext>
            </a:extLst>
          </p:cNvPr>
          <p:cNvSpPr>
            <a:spLocks/>
          </p:cNvSpPr>
          <p:nvPr/>
        </p:nvSpPr>
        <p:spPr>
          <a:xfrm>
            <a:off x="1646238" y="3541253"/>
            <a:ext cx="10363199" cy="307777"/>
          </a:xfrm>
          <a:prstGeom prst="rect">
            <a:avLst/>
          </a:prstGeom>
        </p:spPr>
        <p:txBody>
          <a:bodyPr wrap="square" lIns="0" tIns="0" rIns="0" bIns="0" anchor="ctr">
            <a:spAutoFit/>
          </a:bodyPr>
          <a:lstStyle/>
          <a:p>
            <a:pPr>
              <a:spcBef>
                <a:spcPts val="600"/>
              </a:spcBef>
              <a:spcAft>
                <a:spcPts val="600"/>
              </a:spcAft>
            </a:pPr>
            <a:r>
              <a:rPr lang="en-US" sz="2000"/>
              <a:t>Discriminate against fields of endeavor</a:t>
            </a:r>
          </a:p>
        </p:txBody>
      </p:sp>
      <p:cxnSp>
        <p:nvCxnSpPr>
          <p:cNvPr id="63" name="Straight Connector 62">
            <a:extLst>
              <a:ext uri="{FF2B5EF4-FFF2-40B4-BE49-F238E27FC236}">
                <a16:creationId xmlns:a16="http://schemas.microsoft.com/office/drawing/2014/main" id="{5BBF24D0-E593-4C66-98BC-259F10749C85}"/>
              </a:ext>
              <a:ext uri="{C183D7F6-B498-43B3-948B-1728B52AA6E4}">
                <adec:decorative xmlns:adec="http://schemas.microsoft.com/office/drawing/2017/decorative" val="1"/>
              </a:ext>
            </a:extLst>
          </p:cNvPr>
          <p:cNvCxnSpPr>
            <a:cxnSpLocks/>
          </p:cNvCxnSpPr>
          <p:nvPr/>
        </p:nvCxnSpPr>
        <p:spPr>
          <a:xfrm>
            <a:off x="1646238" y="4298146"/>
            <a:ext cx="1036319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descr="Icon of a document">
            <a:extLst>
              <a:ext uri="{FF2B5EF4-FFF2-40B4-BE49-F238E27FC236}">
                <a16:creationId xmlns:a16="http://schemas.microsoft.com/office/drawing/2014/main" id="{D0BA6485-2E9F-43A6-8AF7-4A6BAB14080B}"/>
              </a:ext>
            </a:extLst>
          </p:cNvPr>
          <p:cNvPicPr>
            <a:picLocks noChangeAspect="1"/>
          </p:cNvPicPr>
          <p:nvPr/>
        </p:nvPicPr>
        <p:blipFill>
          <a:blip r:embed="rId5"/>
          <a:stretch>
            <a:fillRect/>
          </a:stretch>
        </p:blipFill>
        <p:spPr>
          <a:xfrm>
            <a:off x="431800" y="4424901"/>
            <a:ext cx="952500" cy="952500"/>
          </a:xfrm>
          <a:prstGeom prst="rect">
            <a:avLst/>
          </a:prstGeom>
        </p:spPr>
      </p:pic>
      <p:sp>
        <p:nvSpPr>
          <p:cNvPr id="60" name="Rectangle 59">
            <a:extLst>
              <a:ext uri="{FF2B5EF4-FFF2-40B4-BE49-F238E27FC236}">
                <a16:creationId xmlns:a16="http://schemas.microsoft.com/office/drawing/2014/main" id="{AFA1C8CC-C223-45E8-ACB3-065A50855BAB}"/>
              </a:ext>
            </a:extLst>
          </p:cNvPr>
          <p:cNvSpPr>
            <a:spLocks/>
          </p:cNvSpPr>
          <p:nvPr/>
        </p:nvSpPr>
        <p:spPr>
          <a:xfrm>
            <a:off x="1646239" y="4747263"/>
            <a:ext cx="10363200" cy="307777"/>
          </a:xfrm>
          <a:prstGeom prst="rect">
            <a:avLst/>
          </a:prstGeom>
        </p:spPr>
        <p:txBody>
          <a:bodyPr wrap="square" lIns="0" tIns="0" rIns="0" bIns="0" anchor="ctr">
            <a:spAutoFit/>
          </a:bodyPr>
          <a:lstStyle/>
          <a:p>
            <a:pPr>
              <a:spcBef>
                <a:spcPts val="600"/>
              </a:spcBef>
              <a:spcAft>
                <a:spcPts val="600"/>
              </a:spcAft>
            </a:pPr>
            <a:r>
              <a:rPr lang="en-US" sz="2000"/>
              <a:t>Be specific to a product</a:t>
            </a:r>
          </a:p>
        </p:txBody>
      </p:sp>
      <p:cxnSp>
        <p:nvCxnSpPr>
          <p:cNvPr id="64" name="Straight Connector 63">
            <a:extLst>
              <a:ext uri="{FF2B5EF4-FFF2-40B4-BE49-F238E27FC236}">
                <a16:creationId xmlns:a16="http://schemas.microsoft.com/office/drawing/2014/main" id="{7E19AA60-EAFD-4E4A-B8F6-EFCE82CB481E}"/>
              </a:ext>
              <a:ext uri="{C183D7F6-B498-43B3-948B-1728B52AA6E4}">
                <adec:decorative xmlns:adec="http://schemas.microsoft.com/office/drawing/2017/decorative" val="1"/>
              </a:ext>
            </a:extLst>
          </p:cNvPr>
          <p:cNvCxnSpPr>
            <a:cxnSpLocks/>
          </p:cNvCxnSpPr>
          <p:nvPr/>
        </p:nvCxnSpPr>
        <p:spPr>
          <a:xfrm>
            <a:off x="1646238" y="5504156"/>
            <a:ext cx="1035208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Icon of check mark enclosed by an arc">
            <a:extLst>
              <a:ext uri="{FF2B5EF4-FFF2-40B4-BE49-F238E27FC236}">
                <a16:creationId xmlns:a16="http://schemas.microsoft.com/office/drawing/2014/main" id="{BAD94B53-B93D-4586-861D-8EB2550BE2FC}"/>
              </a:ext>
            </a:extLst>
          </p:cNvPr>
          <p:cNvPicPr>
            <a:picLocks noChangeAspect="1"/>
          </p:cNvPicPr>
          <p:nvPr/>
        </p:nvPicPr>
        <p:blipFill>
          <a:blip r:embed="rId6"/>
          <a:stretch>
            <a:fillRect/>
          </a:stretch>
        </p:blipFill>
        <p:spPr>
          <a:xfrm>
            <a:off x="431800" y="5630911"/>
            <a:ext cx="952500" cy="952500"/>
          </a:xfrm>
          <a:prstGeom prst="rect">
            <a:avLst/>
          </a:prstGeom>
        </p:spPr>
      </p:pic>
      <p:sp>
        <p:nvSpPr>
          <p:cNvPr id="61" name="Rectangle 60">
            <a:extLst>
              <a:ext uri="{FF2B5EF4-FFF2-40B4-BE49-F238E27FC236}">
                <a16:creationId xmlns:a16="http://schemas.microsoft.com/office/drawing/2014/main" id="{BEE48B26-944E-4BB7-A9EA-F5BEA6C54CFA}"/>
              </a:ext>
            </a:extLst>
          </p:cNvPr>
          <p:cNvSpPr>
            <a:spLocks/>
          </p:cNvSpPr>
          <p:nvPr/>
        </p:nvSpPr>
        <p:spPr>
          <a:xfrm>
            <a:off x="1646239" y="5953273"/>
            <a:ext cx="10363200" cy="307777"/>
          </a:xfrm>
          <a:prstGeom prst="rect">
            <a:avLst/>
          </a:prstGeom>
        </p:spPr>
        <p:txBody>
          <a:bodyPr wrap="square" lIns="0" tIns="0" rIns="0" bIns="0" anchor="ctr">
            <a:spAutoFit/>
          </a:bodyPr>
          <a:lstStyle/>
          <a:p>
            <a:pPr>
              <a:spcBef>
                <a:spcPts val="600"/>
              </a:spcBef>
              <a:spcAft>
                <a:spcPts val="600"/>
              </a:spcAft>
            </a:pPr>
            <a:r>
              <a:rPr lang="en-US" sz="2000"/>
              <a:t>Restrict other software</a:t>
            </a:r>
          </a:p>
        </p:txBody>
      </p:sp>
    </p:spTree>
    <p:extLst>
      <p:ext uri="{BB962C8B-B14F-4D97-AF65-F5344CB8AC3E}">
        <p14:creationId xmlns:p14="http://schemas.microsoft.com/office/powerpoint/2010/main" val="1713357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A0824-75AF-4CCD-882B-00DFB808DB39}"/>
              </a:ext>
            </a:extLst>
          </p:cNvPr>
          <p:cNvSpPr>
            <a:spLocks noGrp="1"/>
          </p:cNvSpPr>
          <p:nvPr>
            <p:ph type="title"/>
          </p:nvPr>
        </p:nvSpPr>
        <p:spPr>
          <a:xfrm>
            <a:off x="465138" y="632779"/>
            <a:ext cx="11533187" cy="411162"/>
          </a:xfrm>
        </p:spPr>
        <p:txBody>
          <a:bodyPr/>
          <a:lstStyle/>
          <a:p>
            <a:r>
              <a:rPr lang="en-US" dirty="0"/>
              <a:t>Explore common open-source licenses</a:t>
            </a:r>
          </a:p>
        </p:txBody>
      </p:sp>
      <p:sp>
        <p:nvSpPr>
          <p:cNvPr id="9" name="Rectangle 8">
            <a:extLst>
              <a:ext uri="{FF2B5EF4-FFF2-40B4-BE49-F238E27FC236}">
                <a16:creationId xmlns:a16="http://schemas.microsoft.com/office/drawing/2014/main" id="{7161F1B7-05CB-4933-B2E8-76E0E0787167}"/>
              </a:ext>
              <a:ext uri="{C183D7F6-B498-43B3-948B-1728B52AA6E4}">
                <adec:decorative xmlns:adec="http://schemas.microsoft.com/office/drawing/2017/decorative" val="1"/>
              </a:ext>
            </a:extLst>
          </p:cNvPr>
          <p:cNvSpPr/>
          <p:nvPr/>
        </p:nvSpPr>
        <p:spPr bwMode="auto">
          <a:xfrm>
            <a:off x="427038" y="1714500"/>
            <a:ext cx="11582400" cy="4400550"/>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Pentagon 15">
            <a:extLst>
              <a:ext uri="{FF2B5EF4-FFF2-40B4-BE49-F238E27FC236}">
                <a16:creationId xmlns:a16="http://schemas.microsoft.com/office/drawing/2014/main" id="{C65025D2-D56B-46E6-ADC6-B545EE465422}"/>
              </a:ext>
            </a:extLst>
          </p:cNvPr>
          <p:cNvSpPr/>
          <p:nvPr/>
        </p:nvSpPr>
        <p:spPr bwMode="auto">
          <a:xfrm>
            <a:off x="4740601" y="1935295"/>
            <a:ext cx="7138311" cy="745595"/>
          </a:xfrm>
          <a:prstGeom prst="homePlate">
            <a:avLst>
              <a:gd name="adj" fmla="val 30837"/>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66400" tIns="33200" rIns="457200" bIns="66400" numCol="1" spcCol="0" rtlCol="0" fromWordArt="0" anchor="ctr" anchorCtr="0" forceAA="0" compatLnSpc="1">
            <a:prstTxWarp prst="textNoShape">
              <a:avLst/>
            </a:prstTxWarp>
            <a:noAutofit/>
          </a:bodyPr>
          <a:lstStyle/>
          <a:p>
            <a:pPr marL="581057" algn="r" defTabSz="663847">
              <a:defRPr/>
            </a:pPr>
            <a:r>
              <a:rPr lang="en-US" sz="2400">
                <a:latin typeface="+mj-lt"/>
                <a:ea typeface="Segoe UI" pitchFamily="34" charset="0"/>
                <a:cs typeface="Segoe UI" pitchFamily="34" charset="0"/>
              </a:rPr>
              <a:t>Restrictive</a:t>
            </a:r>
          </a:p>
        </p:txBody>
      </p:sp>
      <p:sp>
        <p:nvSpPr>
          <p:cNvPr id="4" name="Rectangle 3">
            <a:extLst>
              <a:ext uri="{FF2B5EF4-FFF2-40B4-BE49-F238E27FC236}">
                <a16:creationId xmlns:a16="http://schemas.microsoft.com/office/drawing/2014/main" id="{1D0062D8-2123-4E48-A0CF-E93D4837541A}"/>
              </a:ext>
            </a:extLst>
          </p:cNvPr>
          <p:cNvSpPr/>
          <p:nvPr>
            <p:custDataLst>
              <p:tags r:id="rId1"/>
            </p:custDataLst>
          </p:nvPr>
        </p:nvSpPr>
        <p:spPr>
          <a:xfrm>
            <a:off x="842964" y="2829163"/>
            <a:ext cx="3515913" cy="2214203"/>
          </a:xfrm>
          <a:prstGeom prst="rect">
            <a:avLst/>
          </a:prstGeom>
          <a:solidFill>
            <a:srgbClr val="243A5E"/>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Bef>
                <a:spcPts val="600"/>
              </a:spcBef>
              <a:spcAft>
                <a:spcPts val="1200"/>
              </a:spcAft>
            </a:pPr>
            <a:r>
              <a:rPr lang="en-US" sz="2400">
                <a:solidFill>
                  <a:schemeClr val="bg1"/>
                </a:solidFill>
                <a:ea typeface="Segoe UI" pitchFamily="34" charset="0"/>
                <a:cs typeface="Segoe UI" pitchFamily="34" charset="0"/>
                <a:sym typeface="Segoe Light"/>
              </a:rPr>
              <a:t>ATTRIBUTION</a:t>
            </a:r>
          </a:p>
          <a:p>
            <a:pPr algn="ctr" defTabSz="699291">
              <a:spcAft>
                <a:spcPts val="200"/>
              </a:spcAft>
            </a:pPr>
            <a:r>
              <a:rPr lang="en-US" sz="2400">
                <a:solidFill>
                  <a:schemeClr val="bg1"/>
                </a:solidFill>
                <a:ea typeface="Segoe UI" pitchFamily="34" charset="0"/>
                <a:cs typeface="Segoe UI" pitchFamily="34" charset="0"/>
                <a:sym typeface="Segoe Light"/>
              </a:rPr>
              <a:t>BSD</a:t>
            </a:r>
          </a:p>
          <a:p>
            <a:pPr algn="ctr" defTabSz="699291">
              <a:spcAft>
                <a:spcPts val="200"/>
              </a:spcAft>
            </a:pPr>
            <a:r>
              <a:rPr lang="en-US" sz="2400">
                <a:solidFill>
                  <a:schemeClr val="bg1"/>
                </a:solidFill>
                <a:ea typeface="Segoe UI" pitchFamily="34" charset="0"/>
                <a:cs typeface="Segoe UI" pitchFamily="34" charset="0"/>
                <a:sym typeface="Segoe Light"/>
              </a:rPr>
              <a:t>MIT</a:t>
            </a:r>
          </a:p>
          <a:p>
            <a:pPr algn="ctr" defTabSz="699291">
              <a:spcAft>
                <a:spcPts val="200"/>
              </a:spcAft>
            </a:pPr>
            <a:r>
              <a:rPr lang="en-US" sz="2400">
                <a:solidFill>
                  <a:schemeClr val="bg1"/>
                </a:solidFill>
                <a:ea typeface="Segoe UI" pitchFamily="34" charset="0"/>
                <a:cs typeface="Segoe UI" pitchFamily="34" charset="0"/>
                <a:sym typeface="Segoe Light"/>
              </a:rPr>
              <a:t>Apache</a:t>
            </a:r>
          </a:p>
        </p:txBody>
      </p:sp>
      <p:sp>
        <p:nvSpPr>
          <p:cNvPr id="5" name="Rectangle 4">
            <a:extLst>
              <a:ext uri="{FF2B5EF4-FFF2-40B4-BE49-F238E27FC236}">
                <a16:creationId xmlns:a16="http://schemas.microsoft.com/office/drawing/2014/main" id="{55C80776-2AE1-47C4-B0FD-A170FAC6B8E4}"/>
              </a:ext>
            </a:extLst>
          </p:cNvPr>
          <p:cNvSpPr/>
          <p:nvPr>
            <p:custDataLst>
              <p:tags r:id="rId2"/>
            </p:custDataLst>
          </p:nvPr>
        </p:nvSpPr>
        <p:spPr>
          <a:xfrm>
            <a:off x="4485683" y="2829163"/>
            <a:ext cx="3515913" cy="2214203"/>
          </a:xfrm>
          <a:prstGeom prst="rect">
            <a:avLst/>
          </a:prstGeom>
          <a:solidFill>
            <a:schemeClr val="accent4">
              <a:lumMod val="50000"/>
            </a:schemeClr>
          </a:solidFill>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Aft>
                <a:spcPts val="1200"/>
              </a:spcAft>
            </a:pPr>
            <a:r>
              <a:rPr lang="en-US" sz="2400">
                <a:solidFill>
                  <a:schemeClr val="bg1"/>
                </a:solidFill>
                <a:ea typeface="Segoe UI" pitchFamily="34" charset="0"/>
                <a:cs typeface="Segoe UI" pitchFamily="34" charset="0"/>
                <a:sym typeface="Segoe Light"/>
              </a:rPr>
              <a:t>DOWNSTREAM</a:t>
            </a:r>
          </a:p>
          <a:p>
            <a:pPr algn="ctr" defTabSz="699291">
              <a:spcAft>
                <a:spcPts val="200"/>
              </a:spcAft>
            </a:pPr>
            <a:r>
              <a:rPr lang="en-US" sz="2400">
                <a:solidFill>
                  <a:schemeClr val="bg1"/>
                </a:solidFill>
                <a:ea typeface="Segoe UI" pitchFamily="34" charset="0"/>
                <a:cs typeface="Segoe UI" pitchFamily="34" charset="0"/>
                <a:sym typeface="Segoe Light"/>
              </a:rPr>
              <a:t>MPL</a:t>
            </a:r>
          </a:p>
          <a:p>
            <a:pPr algn="ctr" defTabSz="699291">
              <a:spcAft>
                <a:spcPts val="200"/>
              </a:spcAft>
            </a:pPr>
            <a:r>
              <a:rPr lang="en-US" sz="2400">
                <a:solidFill>
                  <a:schemeClr val="bg1"/>
                </a:solidFill>
                <a:ea typeface="Segoe UI" pitchFamily="34" charset="0"/>
                <a:cs typeface="Segoe UI" pitchFamily="34" charset="0"/>
                <a:sym typeface="Segoe Light"/>
              </a:rPr>
              <a:t>EPL</a:t>
            </a:r>
          </a:p>
          <a:p>
            <a:pPr algn="ctr" defTabSz="699291">
              <a:spcAft>
                <a:spcPts val="200"/>
              </a:spcAft>
            </a:pPr>
            <a:r>
              <a:rPr lang="en-US" sz="2400">
                <a:solidFill>
                  <a:schemeClr val="bg1"/>
                </a:solidFill>
                <a:ea typeface="Segoe UI" pitchFamily="34" charset="0"/>
                <a:cs typeface="Segoe UI" pitchFamily="34" charset="0"/>
                <a:sym typeface="Segoe Light"/>
              </a:rPr>
              <a:t>MS-RL</a:t>
            </a:r>
          </a:p>
        </p:txBody>
      </p:sp>
      <p:sp>
        <p:nvSpPr>
          <p:cNvPr id="6" name="Rectangle 5">
            <a:extLst>
              <a:ext uri="{FF2B5EF4-FFF2-40B4-BE49-F238E27FC236}">
                <a16:creationId xmlns:a16="http://schemas.microsoft.com/office/drawing/2014/main" id="{B2886395-8C18-49D0-AFF5-F6A04AE00ADF}"/>
              </a:ext>
            </a:extLst>
          </p:cNvPr>
          <p:cNvSpPr/>
          <p:nvPr>
            <p:custDataLst>
              <p:tags r:id="rId3"/>
            </p:custDataLst>
          </p:nvPr>
        </p:nvSpPr>
        <p:spPr>
          <a:xfrm>
            <a:off x="8128401" y="2829163"/>
            <a:ext cx="3515913" cy="2214203"/>
          </a:xfrm>
          <a:prstGeom prst="rect">
            <a:avLst/>
          </a:prstGeom>
          <a:solidFill>
            <a:schemeClr val="accent6">
              <a:lumMod val="25000"/>
            </a:schemeClr>
          </a:solidFill>
          <a:ln>
            <a:no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99291">
              <a:spcBef>
                <a:spcPts val="1200"/>
              </a:spcBef>
              <a:spcAft>
                <a:spcPts val="1200"/>
              </a:spcAft>
            </a:pPr>
            <a:r>
              <a:rPr lang="en-US" sz="2400">
                <a:solidFill>
                  <a:schemeClr val="bg1"/>
                </a:solidFill>
                <a:cs typeface="Segoe UI" pitchFamily="34" charset="0"/>
                <a:sym typeface="Segoe Light"/>
              </a:rPr>
              <a:t>COPYLEFT</a:t>
            </a:r>
          </a:p>
          <a:p>
            <a:pPr algn="ctr" defTabSz="699291">
              <a:spcAft>
                <a:spcPts val="200"/>
              </a:spcAft>
            </a:pPr>
            <a:r>
              <a:rPr lang="en-US" sz="2400">
                <a:solidFill>
                  <a:schemeClr val="bg1"/>
                </a:solidFill>
                <a:cs typeface="Segoe UI" pitchFamily="34" charset="0"/>
                <a:sym typeface="Segoe Light"/>
              </a:rPr>
              <a:t>GPL</a:t>
            </a:r>
          </a:p>
          <a:p>
            <a:pPr algn="ctr" defTabSz="699291">
              <a:spcAft>
                <a:spcPts val="200"/>
              </a:spcAft>
            </a:pPr>
            <a:r>
              <a:rPr lang="en-US" sz="2400">
                <a:solidFill>
                  <a:schemeClr val="bg1"/>
                </a:solidFill>
                <a:cs typeface="Segoe UI" pitchFamily="34" charset="0"/>
                <a:sym typeface="Segoe Light"/>
              </a:rPr>
              <a:t>LGPL</a:t>
            </a:r>
          </a:p>
          <a:p>
            <a:pPr algn="ctr" defTabSz="699291">
              <a:spcAft>
                <a:spcPts val="200"/>
              </a:spcAft>
            </a:pPr>
            <a:r>
              <a:rPr lang="en-US" sz="2400">
                <a:solidFill>
                  <a:schemeClr val="bg1"/>
                </a:solidFill>
                <a:cs typeface="Segoe UI" pitchFamily="34" charset="0"/>
                <a:sym typeface="Segoe Light"/>
              </a:rPr>
              <a:t>AGPL</a:t>
            </a:r>
          </a:p>
        </p:txBody>
      </p:sp>
      <p:sp>
        <p:nvSpPr>
          <p:cNvPr id="7" name="Pentagon 15">
            <a:extLst>
              <a:ext uri="{FF2B5EF4-FFF2-40B4-BE49-F238E27FC236}">
                <a16:creationId xmlns:a16="http://schemas.microsoft.com/office/drawing/2014/main" id="{20197764-8A48-43BC-9CC8-EF8D959A3256}"/>
              </a:ext>
            </a:extLst>
          </p:cNvPr>
          <p:cNvSpPr/>
          <p:nvPr/>
        </p:nvSpPr>
        <p:spPr bwMode="auto">
          <a:xfrm flipH="1">
            <a:off x="621019" y="5165017"/>
            <a:ext cx="7288208" cy="745595"/>
          </a:xfrm>
          <a:prstGeom prst="homePlate">
            <a:avLst>
              <a:gd name="adj" fmla="val 30837"/>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457200" tIns="33200" rIns="33200" bIns="66400" numCol="1" spcCol="0" rtlCol="0" fromWordArt="0" anchor="ctr" anchorCtr="0" forceAA="0" compatLnSpc="1">
            <a:prstTxWarp prst="textNoShape">
              <a:avLst/>
            </a:prstTxWarp>
            <a:noAutofit/>
          </a:bodyPr>
          <a:lstStyle/>
          <a:p>
            <a:pPr defTabSz="663847">
              <a:defRPr/>
            </a:pPr>
            <a:r>
              <a:rPr lang="en-US" sz="2400">
                <a:latin typeface="+mj-lt"/>
                <a:ea typeface="Segoe UI" pitchFamily="34" charset="0"/>
                <a:cs typeface="Segoe UI" pitchFamily="34" charset="0"/>
              </a:rPr>
              <a:t>Permissive</a:t>
            </a:r>
            <a:endParaRPr lang="en-US" sz="2400" kern="0" spc="-36">
              <a:latin typeface="+mj-lt"/>
              <a:ea typeface="Segoe UI" pitchFamily="34" charset="0"/>
              <a:cs typeface="Segoe UI" pitchFamily="34" charset="0"/>
            </a:endParaRPr>
          </a:p>
        </p:txBody>
      </p:sp>
    </p:spTree>
    <p:extLst>
      <p:ext uri="{BB962C8B-B14F-4D97-AF65-F5344CB8AC3E}">
        <p14:creationId xmlns:p14="http://schemas.microsoft.com/office/powerpoint/2010/main" val="1152369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right)">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animBg="1"/>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D8665D-5A50-4F07-9D33-48CCD3FD74C7}"/>
              </a:ext>
            </a:extLst>
          </p:cNvPr>
          <p:cNvSpPr>
            <a:spLocks noGrp="1"/>
          </p:cNvSpPr>
          <p:nvPr>
            <p:ph type="title"/>
          </p:nvPr>
        </p:nvSpPr>
        <p:spPr>
          <a:xfrm>
            <a:off x="427039" y="3275663"/>
            <a:ext cx="9240836" cy="443198"/>
          </a:xfrm>
        </p:spPr>
        <p:txBody>
          <a:bodyPr/>
          <a:lstStyle/>
          <a:p>
            <a:r>
              <a:rPr lang="en-US" dirty="0"/>
              <a:t>Learning Path overview</a:t>
            </a:r>
          </a:p>
        </p:txBody>
      </p:sp>
      <p:pic>
        <p:nvPicPr>
          <p:cNvPr id="2" name="Picture 1" descr="Icon of a magnifying glass">
            <a:extLst>
              <a:ext uri="{FF2B5EF4-FFF2-40B4-BE49-F238E27FC236}">
                <a16:creationId xmlns:a16="http://schemas.microsoft.com/office/drawing/2014/main" id="{371064E5-C59A-4FEC-BEE8-560942FBFF66}"/>
              </a:ext>
            </a:extLst>
          </p:cNvPr>
          <p:cNvPicPr>
            <a:picLocks noChangeAspect="1"/>
          </p:cNvPicPr>
          <p:nvPr/>
        </p:nvPicPr>
        <p:blipFill>
          <a:blip r:embed="rId2"/>
          <a:stretch>
            <a:fillRect/>
          </a:stretch>
        </p:blipFill>
        <p:spPr>
          <a:xfrm>
            <a:off x="10409356" y="3044782"/>
            <a:ext cx="957144" cy="957144"/>
          </a:xfrm>
          <a:prstGeom prst="rect">
            <a:avLst/>
          </a:prstGeom>
        </p:spPr>
      </p:pic>
    </p:spTree>
    <p:extLst>
      <p:ext uri="{BB962C8B-B14F-4D97-AF65-F5344CB8AC3E}">
        <p14:creationId xmlns:p14="http://schemas.microsoft.com/office/powerpoint/2010/main" val="306069733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2007-FCCD-4CDA-A543-235BA547DD2F}"/>
              </a:ext>
            </a:extLst>
          </p:cNvPr>
          <p:cNvSpPr>
            <a:spLocks noGrp="1"/>
          </p:cNvSpPr>
          <p:nvPr>
            <p:ph type="title"/>
          </p:nvPr>
        </p:nvSpPr>
        <p:spPr>
          <a:xfrm>
            <a:off x="465138" y="632779"/>
            <a:ext cx="11533187" cy="411162"/>
          </a:xfrm>
        </p:spPr>
        <p:txBody>
          <a:bodyPr/>
          <a:lstStyle/>
          <a:p>
            <a:r>
              <a:rPr lang="en-US" dirty="0"/>
              <a:t>Examine license implications and ratings</a:t>
            </a:r>
          </a:p>
        </p:txBody>
      </p:sp>
      <p:sp>
        <p:nvSpPr>
          <p:cNvPr id="41" name="Rectangle 40">
            <a:extLst>
              <a:ext uri="{FF2B5EF4-FFF2-40B4-BE49-F238E27FC236}">
                <a16:creationId xmlns:a16="http://schemas.microsoft.com/office/drawing/2014/main" id="{A4074F7C-1E1E-4F5D-9519-7F86A3B789E3}"/>
              </a:ext>
            </a:extLst>
          </p:cNvPr>
          <p:cNvSpPr/>
          <p:nvPr/>
        </p:nvSpPr>
        <p:spPr>
          <a:xfrm>
            <a:off x="466343" y="1461095"/>
            <a:ext cx="11531981" cy="307777"/>
          </a:xfrm>
          <a:prstGeom prst="rect">
            <a:avLst/>
          </a:prstGeom>
        </p:spPr>
        <p:txBody>
          <a:bodyPr wrap="square" lIns="0" tIns="0" rIns="0" bIns="0">
            <a:spAutoFit/>
          </a:bodyPr>
          <a:lstStyle/>
          <a:p>
            <a:r>
              <a:rPr lang="en-US" sz="2000" dirty="0">
                <a:latin typeface="+mj-lt"/>
              </a:rPr>
              <a:t>Using a package implies following license requirements:</a:t>
            </a:r>
          </a:p>
        </p:txBody>
      </p:sp>
      <p:sp>
        <p:nvSpPr>
          <p:cNvPr id="3" name="Rectangle 2">
            <a:extLst>
              <a:ext uri="{FF2B5EF4-FFF2-40B4-BE49-F238E27FC236}">
                <a16:creationId xmlns:a16="http://schemas.microsoft.com/office/drawing/2014/main" id="{8DCD46DE-5D07-4A36-971D-65368C857153}"/>
              </a:ext>
            </a:extLst>
          </p:cNvPr>
          <p:cNvSpPr>
            <a:spLocks/>
          </p:cNvSpPr>
          <p:nvPr/>
        </p:nvSpPr>
        <p:spPr bwMode="auto">
          <a:xfrm>
            <a:off x="427037" y="2416175"/>
            <a:ext cx="5681898" cy="2423816"/>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marL="0" lvl="1">
              <a:defRPr/>
            </a:pPr>
            <a:r>
              <a:rPr lang="en-US" sz="2200" dirty="0">
                <a:solidFill>
                  <a:schemeClr val="tx1"/>
                </a:solidFill>
                <a:latin typeface="+mj-lt"/>
              </a:rPr>
              <a:t>The license type may have a high, medium or low impact on distributed software including it</a:t>
            </a:r>
          </a:p>
        </p:txBody>
      </p:sp>
      <p:sp>
        <p:nvSpPr>
          <p:cNvPr id="4" name="Rectangle 3">
            <a:extLst>
              <a:ext uri="{FF2B5EF4-FFF2-40B4-BE49-F238E27FC236}">
                <a16:creationId xmlns:a16="http://schemas.microsoft.com/office/drawing/2014/main" id="{AF57B293-3710-42FF-91E3-3AF2EA0CC4DC}"/>
              </a:ext>
            </a:extLst>
          </p:cNvPr>
          <p:cNvSpPr>
            <a:spLocks/>
          </p:cNvSpPr>
          <p:nvPr/>
        </p:nvSpPr>
        <p:spPr bwMode="auto">
          <a:xfrm>
            <a:off x="6316426" y="2416175"/>
            <a:ext cx="5681898" cy="2423816"/>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lvl="0">
              <a:defRPr/>
            </a:pPr>
            <a:r>
              <a:rPr lang="en-US" sz="2200" dirty="0">
                <a:solidFill>
                  <a:schemeClr val="tx1"/>
                </a:solidFill>
                <a:latin typeface="+mj-lt"/>
              </a:rPr>
              <a:t>License rating indicates impact of use of packages:</a:t>
            </a:r>
          </a:p>
          <a:p>
            <a:pPr marL="0" lvl="1">
              <a:spcBef>
                <a:spcPts val="600"/>
              </a:spcBef>
              <a:spcAft>
                <a:spcPts val="600"/>
              </a:spcAft>
              <a:defRPr/>
            </a:pPr>
            <a:r>
              <a:rPr lang="en-US" sz="2000" dirty="0">
                <a:solidFill>
                  <a:schemeClr val="tx1"/>
                </a:solidFill>
              </a:rPr>
              <a:t>Compliancy</a:t>
            </a:r>
          </a:p>
          <a:p>
            <a:pPr marL="0" lvl="1">
              <a:spcBef>
                <a:spcPts val="600"/>
              </a:spcBef>
              <a:spcAft>
                <a:spcPts val="600"/>
              </a:spcAft>
              <a:defRPr/>
            </a:pPr>
            <a:r>
              <a:rPr lang="en-US" sz="2000" dirty="0">
                <a:solidFill>
                  <a:schemeClr val="tx1"/>
                </a:solidFill>
              </a:rPr>
              <a:t>Intellectual property</a:t>
            </a:r>
          </a:p>
          <a:p>
            <a:pPr marL="0" lvl="1">
              <a:spcBef>
                <a:spcPts val="600"/>
              </a:spcBef>
              <a:spcAft>
                <a:spcPts val="600"/>
              </a:spcAft>
              <a:defRPr/>
            </a:pPr>
            <a:r>
              <a:rPr lang="en-US" sz="2000" dirty="0">
                <a:solidFill>
                  <a:schemeClr val="tx1"/>
                </a:solidFill>
              </a:rPr>
              <a:t>Exclusive rights</a:t>
            </a:r>
          </a:p>
        </p:txBody>
      </p:sp>
    </p:spTree>
    <p:extLst>
      <p:ext uri="{BB962C8B-B14F-4D97-AF65-F5344CB8AC3E}">
        <p14:creationId xmlns:p14="http://schemas.microsoft.com/office/powerpoint/2010/main" val="346506280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Module 03: Software Composition Analysis</a:t>
            </a:r>
          </a:p>
        </p:txBody>
      </p:sp>
      <p:pic>
        <p:nvPicPr>
          <p:cNvPr id="2" name="Picture 1" descr="Icon of three squares and a cloud">
            <a:extLst>
              <a:ext uri="{FF2B5EF4-FFF2-40B4-BE49-F238E27FC236}">
                <a16:creationId xmlns:a16="http://schemas.microsoft.com/office/drawing/2014/main" id="{5C63D217-3287-403F-B5EA-7AF5E08F9D28}"/>
              </a:ext>
            </a:extLst>
          </p:cNvPr>
          <p:cNvPicPr>
            <a:picLocks noChangeAspect="1"/>
          </p:cNvPicPr>
          <p:nvPr/>
        </p:nvPicPr>
        <p:blipFill>
          <a:blip r:embed="rId3"/>
          <a:stretch>
            <a:fillRect/>
          </a:stretch>
        </p:blipFill>
        <p:spPr>
          <a:xfrm>
            <a:off x="10390949" y="3021011"/>
            <a:ext cx="952500" cy="952500"/>
          </a:xfrm>
          <a:prstGeom prst="rect">
            <a:avLst/>
          </a:prstGeom>
        </p:spPr>
      </p:pic>
    </p:spTree>
    <p:extLst>
      <p:ext uri="{BB962C8B-B14F-4D97-AF65-F5344CB8AC3E}">
        <p14:creationId xmlns:p14="http://schemas.microsoft.com/office/powerpoint/2010/main" val="259832012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381AD-4296-4B5B-A173-CAB1822F7A64}"/>
              </a:ext>
            </a:extLst>
          </p:cNvPr>
          <p:cNvSpPr>
            <a:spLocks noGrp="1"/>
          </p:cNvSpPr>
          <p:nvPr>
            <p:ph type="title"/>
          </p:nvPr>
        </p:nvSpPr>
        <p:spPr>
          <a:xfrm>
            <a:off x="465138" y="632779"/>
            <a:ext cx="11533187" cy="411162"/>
          </a:xfrm>
        </p:spPr>
        <p:txBody>
          <a:bodyPr/>
          <a:lstStyle/>
          <a:p>
            <a:r>
              <a:rPr lang="en-US" dirty="0"/>
              <a:t>Inspect and validate code bases for compliance</a:t>
            </a:r>
          </a:p>
        </p:txBody>
      </p:sp>
      <p:sp>
        <p:nvSpPr>
          <p:cNvPr id="4" name="TextBox 3">
            <a:extLst>
              <a:ext uri="{FF2B5EF4-FFF2-40B4-BE49-F238E27FC236}">
                <a16:creationId xmlns:a16="http://schemas.microsoft.com/office/drawing/2014/main" id="{14392A79-FF21-4E89-9A4B-F8B595501548}"/>
              </a:ext>
            </a:extLst>
          </p:cNvPr>
          <p:cNvSpPr txBox="1"/>
          <p:nvPr/>
        </p:nvSpPr>
        <p:spPr>
          <a:xfrm>
            <a:off x="486982" y="1393811"/>
            <a:ext cx="11533186" cy="369332"/>
          </a:xfrm>
          <a:prstGeom prst="rect">
            <a:avLst/>
          </a:prstGeom>
          <a:noFill/>
        </p:spPr>
        <p:txBody>
          <a:bodyPr wrap="square" lIns="0" tIns="0" rIns="0" bIns="0" anchor="ctr">
            <a:spAutoFit/>
          </a:bodyPr>
          <a:lstStyle/>
          <a:p>
            <a:r>
              <a:rPr lang="en-US" sz="2400" dirty="0">
                <a:latin typeface="+mj-lt"/>
              </a:rPr>
              <a:t>There are many aspects to building and deploying secure applications</a:t>
            </a:r>
          </a:p>
        </p:txBody>
      </p:sp>
      <p:pic>
        <p:nvPicPr>
          <p:cNvPr id="40" name="Picture 39" descr="Icon of a top view section of human brain">
            <a:extLst>
              <a:ext uri="{FF2B5EF4-FFF2-40B4-BE49-F238E27FC236}">
                <a16:creationId xmlns:a16="http://schemas.microsoft.com/office/drawing/2014/main" id="{F31ADCAB-6A63-4CCC-8201-CDD9730DD253}"/>
              </a:ext>
            </a:extLst>
          </p:cNvPr>
          <p:cNvPicPr>
            <a:picLocks noChangeAspect="1"/>
          </p:cNvPicPr>
          <p:nvPr/>
        </p:nvPicPr>
        <p:blipFill>
          <a:blip r:embed="rId3"/>
          <a:stretch>
            <a:fillRect/>
          </a:stretch>
        </p:blipFill>
        <p:spPr>
          <a:xfrm>
            <a:off x="465138" y="2040493"/>
            <a:ext cx="1080516" cy="1078992"/>
          </a:xfrm>
          <a:prstGeom prst="rect">
            <a:avLst/>
          </a:prstGeom>
        </p:spPr>
      </p:pic>
      <p:sp>
        <p:nvSpPr>
          <p:cNvPr id="11" name="Rectangle 10">
            <a:extLst>
              <a:ext uri="{FF2B5EF4-FFF2-40B4-BE49-F238E27FC236}">
                <a16:creationId xmlns:a16="http://schemas.microsoft.com/office/drawing/2014/main" id="{AE273F85-8AFA-4AF7-987F-94D93630C7A9}"/>
              </a:ext>
            </a:extLst>
          </p:cNvPr>
          <p:cNvSpPr/>
          <p:nvPr/>
        </p:nvSpPr>
        <p:spPr>
          <a:xfrm>
            <a:off x="1850044" y="2261402"/>
            <a:ext cx="10170124" cy="637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400" dirty="0">
                <a:solidFill>
                  <a:schemeClr val="tx1"/>
                </a:solidFill>
              </a:rPr>
              <a:t>General knowledge problem</a:t>
            </a:r>
          </a:p>
        </p:txBody>
      </p:sp>
      <p:cxnSp>
        <p:nvCxnSpPr>
          <p:cNvPr id="5" name="Straight Connector 4">
            <a:extLst>
              <a:ext uri="{FF2B5EF4-FFF2-40B4-BE49-F238E27FC236}">
                <a16:creationId xmlns:a16="http://schemas.microsoft.com/office/drawing/2014/main" id="{5E47DCB9-31F6-452E-B4A1-0A23046DF485}"/>
              </a:ext>
              <a:ext uri="{C183D7F6-B498-43B3-948B-1728B52AA6E4}">
                <adec:decorative xmlns:adec="http://schemas.microsoft.com/office/drawing/2017/decorative" val="1"/>
              </a:ext>
            </a:extLst>
          </p:cNvPr>
          <p:cNvCxnSpPr>
            <a:cxnSpLocks/>
          </p:cNvCxnSpPr>
          <p:nvPr/>
        </p:nvCxnSpPr>
        <p:spPr>
          <a:xfrm flipV="1">
            <a:off x="1850044" y="3269331"/>
            <a:ext cx="1009865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2" name="Picture 41" descr="Icon of coding brackets">
            <a:extLst>
              <a:ext uri="{FF2B5EF4-FFF2-40B4-BE49-F238E27FC236}">
                <a16:creationId xmlns:a16="http://schemas.microsoft.com/office/drawing/2014/main" id="{D5446AA3-B1BB-4E89-99B2-9B7FA1A5872B}"/>
              </a:ext>
            </a:extLst>
          </p:cNvPr>
          <p:cNvPicPr>
            <a:picLocks noChangeAspect="1"/>
          </p:cNvPicPr>
          <p:nvPr/>
        </p:nvPicPr>
        <p:blipFill>
          <a:blip r:embed="rId4"/>
          <a:stretch>
            <a:fillRect/>
          </a:stretch>
        </p:blipFill>
        <p:spPr>
          <a:xfrm>
            <a:off x="465138" y="3575944"/>
            <a:ext cx="1080516" cy="1078992"/>
          </a:xfrm>
          <a:prstGeom prst="rect">
            <a:avLst/>
          </a:prstGeom>
        </p:spPr>
      </p:pic>
      <p:sp>
        <p:nvSpPr>
          <p:cNvPr id="16" name="Rectangle 15">
            <a:extLst>
              <a:ext uri="{FF2B5EF4-FFF2-40B4-BE49-F238E27FC236}">
                <a16:creationId xmlns:a16="http://schemas.microsoft.com/office/drawing/2014/main" id="{FEDF9513-9BE7-4A39-9834-CD32D4494196}"/>
              </a:ext>
            </a:extLst>
          </p:cNvPr>
          <p:cNvSpPr/>
          <p:nvPr/>
        </p:nvSpPr>
        <p:spPr>
          <a:xfrm>
            <a:off x="1850044" y="3419177"/>
            <a:ext cx="9960956" cy="13917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400" dirty="0">
                <a:solidFill>
                  <a:schemeClr val="tx1"/>
                </a:solidFill>
              </a:rPr>
              <a:t>Code is created correctly and securely implements the required features, and we need to make sure that the features were designed with </a:t>
            </a:r>
            <a:r>
              <a:rPr lang="en-US" sz="2400" dirty="0">
                <a:solidFill>
                  <a:schemeClr val="tx2"/>
                </a:solidFill>
                <a:latin typeface="+mj-lt"/>
              </a:rPr>
              <a:t>security in mind in the first place</a:t>
            </a:r>
          </a:p>
        </p:txBody>
      </p:sp>
      <p:cxnSp>
        <p:nvCxnSpPr>
          <p:cNvPr id="17" name="Straight Connector 16">
            <a:extLst>
              <a:ext uri="{FF2B5EF4-FFF2-40B4-BE49-F238E27FC236}">
                <a16:creationId xmlns:a16="http://schemas.microsoft.com/office/drawing/2014/main" id="{C4B42BBD-39B0-4757-BA9C-175D6B7F2934}"/>
              </a:ext>
              <a:ext uri="{C183D7F6-B498-43B3-948B-1728B52AA6E4}">
                <adec:decorative xmlns:adec="http://schemas.microsoft.com/office/drawing/2017/decorative" val="1"/>
              </a:ext>
            </a:extLst>
          </p:cNvPr>
          <p:cNvCxnSpPr>
            <a:cxnSpLocks/>
          </p:cNvCxnSpPr>
          <p:nvPr/>
        </p:nvCxnSpPr>
        <p:spPr>
          <a:xfrm flipV="1">
            <a:off x="1850044" y="4960790"/>
            <a:ext cx="1009865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44" name="Picture 43" descr="Icon of check mark enclosed by an arc">
            <a:extLst>
              <a:ext uri="{FF2B5EF4-FFF2-40B4-BE49-F238E27FC236}">
                <a16:creationId xmlns:a16="http://schemas.microsoft.com/office/drawing/2014/main" id="{CA61C4F3-AE7F-4110-84F5-84D1850303AF}"/>
              </a:ext>
            </a:extLst>
          </p:cNvPr>
          <p:cNvPicPr>
            <a:picLocks noChangeAspect="1"/>
          </p:cNvPicPr>
          <p:nvPr/>
        </p:nvPicPr>
        <p:blipFill>
          <a:blip r:embed="rId5"/>
          <a:stretch>
            <a:fillRect/>
          </a:stretch>
        </p:blipFill>
        <p:spPr>
          <a:xfrm>
            <a:off x="465138" y="5110635"/>
            <a:ext cx="1080516" cy="1080516"/>
          </a:xfrm>
          <a:prstGeom prst="rect">
            <a:avLst/>
          </a:prstGeom>
        </p:spPr>
      </p:pic>
      <p:sp>
        <p:nvSpPr>
          <p:cNvPr id="22" name="Rectangle 21">
            <a:extLst>
              <a:ext uri="{FF2B5EF4-FFF2-40B4-BE49-F238E27FC236}">
                <a16:creationId xmlns:a16="http://schemas.microsoft.com/office/drawing/2014/main" id="{31AF9674-9103-4FD7-A26A-FE547CCE7248}"/>
              </a:ext>
            </a:extLst>
          </p:cNvPr>
          <p:cNvSpPr/>
          <p:nvPr/>
        </p:nvSpPr>
        <p:spPr>
          <a:xfrm>
            <a:off x="1850044" y="5332307"/>
            <a:ext cx="10170124" cy="637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400" dirty="0">
                <a:solidFill>
                  <a:schemeClr val="tx1"/>
                </a:solidFill>
              </a:rPr>
              <a:t>Complies with the rules and regulations that it is required to meet</a:t>
            </a:r>
          </a:p>
        </p:txBody>
      </p:sp>
    </p:spTree>
    <p:extLst>
      <p:ext uri="{BB962C8B-B14F-4D97-AF65-F5344CB8AC3E}">
        <p14:creationId xmlns:p14="http://schemas.microsoft.com/office/powerpoint/2010/main" val="121900174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8179E-B348-404C-A711-E54AC067DE89}"/>
              </a:ext>
            </a:extLst>
          </p:cNvPr>
          <p:cNvSpPr>
            <a:spLocks noGrp="1"/>
          </p:cNvSpPr>
          <p:nvPr>
            <p:ph type="title"/>
          </p:nvPr>
        </p:nvSpPr>
        <p:spPr>
          <a:xfrm>
            <a:off x="427038" y="632779"/>
            <a:ext cx="11571287" cy="411162"/>
          </a:xfrm>
        </p:spPr>
        <p:txBody>
          <a:bodyPr/>
          <a:lstStyle/>
          <a:p>
            <a:r>
              <a:rPr lang="en-US" dirty="0"/>
              <a:t>Explore software composition analysis (SCA)</a:t>
            </a:r>
          </a:p>
        </p:txBody>
      </p:sp>
      <p:sp>
        <p:nvSpPr>
          <p:cNvPr id="44" name="Rectangle 43">
            <a:extLst>
              <a:ext uri="{FF2B5EF4-FFF2-40B4-BE49-F238E27FC236}">
                <a16:creationId xmlns:a16="http://schemas.microsoft.com/office/drawing/2014/main" id="{65661F3F-8789-486A-84E5-96B5015153CA}"/>
              </a:ext>
            </a:extLst>
          </p:cNvPr>
          <p:cNvSpPr/>
          <p:nvPr/>
        </p:nvSpPr>
        <p:spPr>
          <a:xfrm>
            <a:off x="433387" y="1900115"/>
            <a:ext cx="5722460" cy="4461630"/>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lvl="0" defTabSz="711200">
              <a:spcBef>
                <a:spcPct val="0"/>
              </a:spcBef>
            </a:pPr>
            <a:r>
              <a:rPr lang="en-US" sz="2400" dirty="0">
                <a:solidFill>
                  <a:schemeClr val="tx1"/>
                </a:solidFill>
                <a:latin typeface="+mj-lt"/>
              </a:rPr>
              <a:t>Package Management:</a:t>
            </a:r>
          </a:p>
          <a:p>
            <a:pPr marL="0" lvl="1">
              <a:spcBef>
                <a:spcPts val="600"/>
              </a:spcBef>
            </a:pPr>
            <a:r>
              <a:rPr lang="en-US" sz="2000" dirty="0">
                <a:solidFill>
                  <a:schemeClr val="tx1"/>
                </a:solidFill>
              </a:rPr>
              <a:t>Unique source of binary components</a:t>
            </a:r>
          </a:p>
          <a:p>
            <a:pPr marL="0" lvl="1">
              <a:spcBef>
                <a:spcPts val="600"/>
              </a:spcBef>
            </a:pPr>
            <a:r>
              <a:rPr lang="en-US" sz="2000" dirty="0">
                <a:solidFill>
                  <a:schemeClr val="tx1"/>
                </a:solidFill>
              </a:rPr>
              <a:t>Create a local cache of approved components</a:t>
            </a:r>
          </a:p>
          <a:p>
            <a:pPr marL="0" lvl="1">
              <a:spcBef>
                <a:spcPts val="600"/>
              </a:spcBef>
            </a:pPr>
            <a:r>
              <a:rPr lang="en-US" sz="2000" dirty="0">
                <a:solidFill>
                  <a:schemeClr val="tx1"/>
                </a:solidFill>
              </a:rPr>
              <a:t>Use Azure Artifacts to share and organize your packages</a:t>
            </a:r>
          </a:p>
          <a:p>
            <a:pPr marL="0" lvl="1">
              <a:spcBef>
                <a:spcPts val="600"/>
              </a:spcBef>
            </a:pPr>
            <a:r>
              <a:rPr lang="en-US" sz="2000" dirty="0">
                <a:solidFill>
                  <a:schemeClr val="tx1"/>
                </a:solidFill>
              </a:rPr>
              <a:t>Package types: NuGet, </a:t>
            </a:r>
            <a:r>
              <a:rPr lang="en-US" sz="2000" dirty="0" err="1">
                <a:solidFill>
                  <a:schemeClr val="tx1"/>
                </a:solidFill>
              </a:rPr>
              <a:t>npm</a:t>
            </a:r>
            <a:r>
              <a:rPr lang="en-US" sz="2000" dirty="0">
                <a:solidFill>
                  <a:schemeClr val="tx1"/>
                </a:solidFill>
              </a:rPr>
              <a:t>, Maven, Gradle, Universal, and Python</a:t>
            </a:r>
          </a:p>
        </p:txBody>
      </p:sp>
      <p:sp>
        <p:nvSpPr>
          <p:cNvPr id="104" name="Rectangle 103">
            <a:extLst>
              <a:ext uri="{FF2B5EF4-FFF2-40B4-BE49-F238E27FC236}">
                <a16:creationId xmlns:a16="http://schemas.microsoft.com/office/drawing/2014/main" id="{15BA76A9-B40D-45EF-9782-7187AD579158}"/>
              </a:ext>
            </a:extLst>
          </p:cNvPr>
          <p:cNvSpPr/>
          <p:nvPr/>
        </p:nvSpPr>
        <p:spPr>
          <a:xfrm>
            <a:off x="6280627" y="1900114"/>
            <a:ext cx="5722460" cy="4461631"/>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lvl="0" defTabSz="711200">
              <a:spcBef>
                <a:spcPct val="0"/>
              </a:spcBef>
            </a:pPr>
            <a:r>
              <a:rPr lang="en-US" sz="2400" dirty="0">
                <a:solidFill>
                  <a:schemeClr val="tx1"/>
                </a:solidFill>
                <a:latin typeface="+mj-lt"/>
              </a:rPr>
              <a:t>Open-Source Software (OSS) Components:</a:t>
            </a:r>
          </a:p>
          <a:p>
            <a:pPr marL="0" lvl="1">
              <a:spcBef>
                <a:spcPts val="600"/>
              </a:spcBef>
            </a:pPr>
            <a:r>
              <a:rPr lang="en-US" sz="2000" dirty="0">
                <a:solidFill>
                  <a:schemeClr val="tx1"/>
                </a:solidFill>
              </a:rPr>
              <a:t>Reused dependencies can have security vulnerabilities</a:t>
            </a:r>
          </a:p>
          <a:p>
            <a:pPr marL="0" lvl="1">
              <a:spcBef>
                <a:spcPts val="600"/>
              </a:spcBef>
            </a:pPr>
            <a:r>
              <a:rPr lang="en-US" sz="2000" dirty="0">
                <a:solidFill>
                  <a:schemeClr val="tx1"/>
                </a:solidFill>
              </a:rPr>
              <a:t>Ensure you have the latest version</a:t>
            </a:r>
          </a:p>
          <a:p>
            <a:pPr marL="0" lvl="1">
              <a:spcBef>
                <a:spcPts val="600"/>
              </a:spcBef>
            </a:pPr>
            <a:r>
              <a:rPr lang="en-US" sz="2000" dirty="0">
                <a:solidFill>
                  <a:schemeClr val="tx1"/>
                </a:solidFill>
              </a:rPr>
              <a:t>Check for the correct binaries</a:t>
            </a:r>
          </a:p>
          <a:p>
            <a:pPr marL="0" lvl="1">
              <a:spcBef>
                <a:spcPts val="600"/>
              </a:spcBef>
            </a:pPr>
            <a:r>
              <a:rPr lang="en-US" sz="2000" dirty="0">
                <a:solidFill>
                  <a:schemeClr val="tx1"/>
                </a:solidFill>
              </a:rPr>
              <a:t>Promptly address vulnerabilities </a:t>
            </a:r>
          </a:p>
          <a:p>
            <a:pPr marL="0" lvl="1">
              <a:spcBef>
                <a:spcPts val="600"/>
              </a:spcBef>
            </a:pPr>
            <a:r>
              <a:rPr lang="en-US" sz="2000" dirty="0">
                <a:solidFill>
                  <a:schemeClr val="tx1"/>
                </a:solidFill>
              </a:rPr>
              <a:t>Analyzing the software to determine its composition can help mitigate potential vulnerabilities</a:t>
            </a:r>
          </a:p>
          <a:p>
            <a:pPr marL="0" lvl="1">
              <a:spcBef>
                <a:spcPts val="600"/>
              </a:spcBef>
            </a:pPr>
            <a:r>
              <a:rPr lang="en-US" sz="2000" dirty="0">
                <a:solidFill>
                  <a:schemeClr val="tx1"/>
                </a:solidFill>
              </a:rPr>
              <a:t>Scanning tools discussed in the next Learning Path</a:t>
            </a:r>
            <a:endParaRPr lang="en-IN" sz="2000" dirty="0">
              <a:solidFill>
                <a:schemeClr val="tx1"/>
              </a:solidFill>
            </a:endParaRPr>
          </a:p>
        </p:txBody>
      </p:sp>
    </p:spTree>
    <p:extLst>
      <p:ext uri="{BB962C8B-B14F-4D97-AF65-F5344CB8AC3E}">
        <p14:creationId xmlns:p14="http://schemas.microsoft.com/office/powerpoint/2010/main" val="71462433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71222-0A44-4BEB-9F2A-755FB83D7AE6}"/>
              </a:ext>
            </a:extLst>
          </p:cNvPr>
          <p:cNvSpPr>
            <a:spLocks noGrp="1"/>
          </p:cNvSpPr>
          <p:nvPr>
            <p:ph type="title"/>
          </p:nvPr>
        </p:nvSpPr>
        <p:spPr>
          <a:xfrm>
            <a:off x="427038" y="632779"/>
            <a:ext cx="11571287" cy="411162"/>
          </a:xfrm>
        </p:spPr>
        <p:txBody>
          <a:bodyPr/>
          <a:lstStyle/>
          <a:p>
            <a:r>
              <a:rPr lang="en-US" dirty="0"/>
              <a:t>Integrate Mend with Azure Pipelines</a:t>
            </a:r>
          </a:p>
        </p:txBody>
      </p:sp>
      <p:pic>
        <p:nvPicPr>
          <p:cNvPr id="40" name="Picture 39" descr="Icon of arrow pointing in four opposite directions">
            <a:extLst>
              <a:ext uri="{FF2B5EF4-FFF2-40B4-BE49-F238E27FC236}">
                <a16:creationId xmlns:a16="http://schemas.microsoft.com/office/drawing/2014/main" id="{A99B57B3-2031-4A8B-B6EF-BFCB5A14E2AD}"/>
              </a:ext>
            </a:extLst>
          </p:cNvPr>
          <p:cNvPicPr>
            <a:picLocks noChangeAspect="1"/>
          </p:cNvPicPr>
          <p:nvPr/>
        </p:nvPicPr>
        <p:blipFill>
          <a:blip r:embed="rId3"/>
          <a:stretch>
            <a:fillRect/>
          </a:stretch>
        </p:blipFill>
        <p:spPr>
          <a:xfrm>
            <a:off x="427038" y="1691027"/>
            <a:ext cx="821436" cy="821436"/>
          </a:xfrm>
          <a:prstGeom prst="rect">
            <a:avLst/>
          </a:prstGeom>
        </p:spPr>
      </p:pic>
      <p:sp>
        <p:nvSpPr>
          <p:cNvPr id="19" name="Rectangle 18">
            <a:extLst>
              <a:ext uri="{FF2B5EF4-FFF2-40B4-BE49-F238E27FC236}">
                <a16:creationId xmlns:a16="http://schemas.microsoft.com/office/drawing/2014/main" id="{DC466907-9CF3-42C0-8DD9-E43B5724AF46}"/>
              </a:ext>
            </a:extLst>
          </p:cNvPr>
          <p:cNvSpPr/>
          <p:nvPr/>
        </p:nvSpPr>
        <p:spPr>
          <a:xfrm>
            <a:off x="1460500" y="1947857"/>
            <a:ext cx="10548938" cy="30777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lvl="0" defTabSz="755650">
              <a:spcBef>
                <a:spcPct val="0"/>
              </a:spcBef>
              <a:spcAft>
                <a:spcPct val="35000"/>
              </a:spcAft>
            </a:pPr>
            <a:r>
              <a:rPr lang="en-IE" sz="2000" i="1" u="sng" dirty="0">
                <a:solidFill>
                  <a:schemeClr val="tx1"/>
                </a:solidFill>
              </a:rPr>
              <a:t>Mend</a:t>
            </a:r>
            <a:r>
              <a:rPr lang="en-IE" sz="2000" dirty="0">
                <a:solidFill>
                  <a:schemeClr val="tx1"/>
                </a:solidFill>
              </a:rPr>
              <a:t> is one such example of an extension available on the Azure DevOps Marketplace</a:t>
            </a:r>
            <a:endParaRPr lang="en-IN" sz="2000" kern="1200" dirty="0">
              <a:solidFill>
                <a:schemeClr val="tx1"/>
              </a:solidFill>
            </a:endParaRPr>
          </a:p>
        </p:txBody>
      </p:sp>
      <p:cxnSp>
        <p:nvCxnSpPr>
          <p:cNvPr id="20" name="Straight Connector 19">
            <a:extLst>
              <a:ext uri="{FF2B5EF4-FFF2-40B4-BE49-F238E27FC236}">
                <a16:creationId xmlns:a16="http://schemas.microsoft.com/office/drawing/2014/main" id="{FBAC004E-0917-4CD4-B73E-7A29E8CE071C}"/>
              </a:ext>
              <a:ext uri="{C183D7F6-B498-43B3-948B-1728B52AA6E4}">
                <adec:decorative xmlns:adec="http://schemas.microsoft.com/office/drawing/2017/decorative" val="1"/>
              </a:ext>
            </a:extLst>
          </p:cNvPr>
          <p:cNvCxnSpPr>
            <a:cxnSpLocks/>
          </p:cNvCxnSpPr>
          <p:nvPr/>
        </p:nvCxnSpPr>
        <p:spPr>
          <a:xfrm>
            <a:off x="1460500" y="2656094"/>
            <a:ext cx="10512208"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9" name="Picture 38" descr="Icon of arrow positioned diagonally">
            <a:extLst>
              <a:ext uri="{FF2B5EF4-FFF2-40B4-BE49-F238E27FC236}">
                <a16:creationId xmlns:a16="http://schemas.microsoft.com/office/drawing/2014/main" id="{6E0C4D49-0930-43EA-89C6-23178965E4AB}"/>
              </a:ext>
            </a:extLst>
          </p:cNvPr>
          <p:cNvPicPr>
            <a:picLocks noChangeAspect="1"/>
          </p:cNvPicPr>
          <p:nvPr/>
        </p:nvPicPr>
        <p:blipFill>
          <a:blip r:embed="rId4"/>
          <a:stretch>
            <a:fillRect/>
          </a:stretch>
        </p:blipFill>
        <p:spPr>
          <a:xfrm>
            <a:off x="427038" y="2799723"/>
            <a:ext cx="821436" cy="821436"/>
          </a:xfrm>
          <a:prstGeom prst="rect">
            <a:avLst/>
          </a:prstGeom>
        </p:spPr>
      </p:pic>
      <p:sp>
        <p:nvSpPr>
          <p:cNvPr id="24" name="Rectangle 23">
            <a:extLst>
              <a:ext uri="{FF2B5EF4-FFF2-40B4-BE49-F238E27FC236}">
                <a16:creationId xmlns:a16="http://schemas.microsoft.com/office/drawing/2014/main" id="{C24CF5EB-F993-48B9-BB2B-B0B52A912813}"/>
              </a:ext>
            </a:extLst>
          </p:cNvPr>
          <p:cNvSpPr/>
          <p:nvPr/>
        </p:nvSpPr>
        <p:spPr>
          <a:xfrm>
            <a:off x="1460500" y="2953611"/>
            <a:ext cx="10537536" cy="167738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1">
              <a:spcAft>
                <a:spcPts val="600"/>
              </a:spcAft>
            </a:pPr>
            <a:r>
              <a:rPr lang="en-IE" sz="2000" dirty="0">
                <a:solidFill>
                  <a:schemeClr val="tx1"/>
                </a:solidFill>
                <a:latin typeface="+mj-lt"/>
              </a:rPr>
              <a:t>If consuming external packages, the </a:t>
            </a:r>
            <a:r>
              <a:rPr lang="en-IE" sz="2000" i="1" dirty="0">
                <a:solidFill>
                  <a:schemeClr val="tx1"/>
                </a:solidFill>
                <a:latin typeface="+mj-lt"/>
              </a:rPr>
              <a:t>Mend</a:t>
            </a:r>
            <a:r>
              <a:rPr lang="en-IE" sz="2000" dirty="0">
                <a:solidFill>
                  <a:schemeClr val="tx1"/>
                </a:solidFill>
                <a:latin typeface="+mj-lt"/>
              </a:rPr>
              <a:t> extension specifically addresses the questions of open-source security, quality, and license compliance. </a:t>
            </a:r>
          </a:p>
          <a:p>
            <a:pPr marL="0" lvl="1">
              <a:spcAft>
                <a:spcPts val="600"/>
              </a:spcAft>
            </a:pPr>
            <a:r>
              <a:rPr lang="en-US" dirty="0">
                <a:solidFill>
                  <a:schemeClr val="tx1"/>
                </a:solidFill>
              </a:rPr>
              <a:t>Continuously detect all open-source components in your software</a:t>
            </a:r>
          </a:p>
          <a:p>
            <a:pPr marL="0" lvl="1">
              <a:spcAft>
                <a:spcPts val="600"/>
              </a:spcAft>
            </a:pPr>
            <a:r>
              <a:rPr lang="en-US" dirty="0">
                <a:solidFill>
                  <a:schemeClr val="tx1"/>
                </a:solidFill>
              </a:rPr>
              <a:t>Receive alerts on open-source security vulnerabilities</a:t>
            </a:r>
          </a:p>
          <a:p>
            <a:pPr marL="0" lvl="1">
              <a:spcAft>
                <a:spcPts val="600"/>
              </a:spcAft>
            </a:pPr>
            <a:r>
              <a:rPr lang="en-US" dirty="0">
                <a:solidFill>
                  <a:schemeClr val="tx1"/>
                </a:solidFill>
              </a:rPr>
              <a:t>Automatically enforce open-source security and license compliance</a:t>
            </a:r>
          </a:p>
        </p:txBody>
      </p:sp>
    </p:spTree>
    <p:extLst>
      <p:ext uri="{BB962C8B-B14F-4D97-AF65-F5344CB8AC3E}">
        <p14:creationId xmlns:p14="http://schemas.microsoft.com/office/powerpoint/2010/main" val="52033655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ACEE4-474E-4B40-811E-AD4DBD723AE2}"/>
              </a:ext>
            </a:extLst>
          </p:cNvPr>
          <p:cNvSpPr>
            <a:spLocks noGrp="1"/>
          </p:cNvSpPr>
          <p:nvPr>
            <p:ph type="title"/>
          </p:nvPr>
        </p:nvSpPr>
        <p:spPr>
          <a:xfrm>
            <a:off x="465138" y="632779"/>
            <a:ext cx="11533187" cy="411162"/>
          </a:xfrm>
        </p:spPr>
        <p:txBody>
          <a:bodyPr/>
          <a:lstStyle/>
          <a:p>
            <a:r>
              <a:rPr lang="en-US" dirty="0"/>
              <a:t>Implement GitHub </a:t>
            </a:r>
            <a:r>
              <a:rPr lang="en-US" dirty="0" err="1"/>
              <a:t>Dependabot</a:t>
            </a:r>
            <a:r>
              <a:rPr lang="en-US" dirty="0"/>
              <a:t> alerts and security updates</a:t>
            </a:r>
          </a:p>
        </p:txBody>
      </p:sp>
      <p:pic>
        <p:nvPicPr>
          <p:cNvPr id="47" name="Picture 46">
            <a:extLst>
              <a:ext uri="{FF2B5EF4-FFF2-40B4-BE49-F238E27FC236}">
                <a16:creationId xmlns:a16="http://schemas.microsoft.com/office/drawing/2014/main" id="{531C4369-25A7-41E2-8645-317CD0F91EF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2286000"/>
            <a:ext cx="12436475" cy="1412786"/>
          </a:xfrm>
          <a:prstGeom prst="rect">
            <a:avLst/>
          </a:prstGeom>
        </p:spPr>
      </p:pic>
      <p:sp>
        <p:nvSpPr>
          <p:cNvPr id="7" name="Oval 6">
            <a:extLst>
              <a:ext uri="{FF2B5EF4-FFF2-40B4-BE49-F238E27FC236}">
                <a16:creationId xmlns:a16="http://schemas.microsoft.com/office/drawing/2014/main" id="{58CF76E1-4BF8-4058-A647-74339C8F9D49}"/>
              </a:ext>
            </a:extLst>
          </p:cNvPr>
          <p:cNvSpPr/>
          <p:nvPr/>
        </p:nvSpPr>
        <p:spPr>
          <a:xfrm>
            <a:off x="549274" y="2440789"/>
            <a:ext cx="2449516" cy="244791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solidFill>
                  <a:schemeClr val="tx1"/>
                </a:solidFill>
                <a:latin typeface="+mj-lt"/>
              </a:rPr>
              <a:t>Check for</a:t>
            </a:r>
            <a:br>
              <a:rPr lang="en-US" sz="2400" dirty="0">
                <a:solidFill>
                  <a:schemeClr val="tx1"/>
                </a:solidFill>
                <a:latin typeface="+mj-lt"/>
              </a:rPr>
            </a:br>
            <a:r>
              <a:rPr lang="en-US" sz="2400" dirty="0">
                <a:solidFill>
                  <a:schemeClr val="tx1"/>
                </a:solidFill>
                <a:latin typeface="+mj-lt"/>
              </a:rPr>
              <a:t>updates</a:t>
            </a:r>
          </a:p>
        </p:txBody>
      </p:sp>
      <p:sp>
        <p:nvSpPr>
          <p:cNvPr id="12" name="Oval 11">
            <a:extLst>
              <a:ext uri="{FF2B5EF4-FFF2-40B4-BE49-F238E27FC236}">
                <a16:creationId xmlns:a16="http://schemas.microsoft.com/office/drawing/2014/main" id="{227ED76C-D4F4-4FD0-9BE6-651F862FA77A}"/>
              </a:ext>
            </a:extLst>
          </p:cNvPr>
          <p:cNvSpPr/>
          <p:nvPr/>
        </p:nvSpPr>
        <p:spPr>
          <a:xfrm>
            <a:off x="3512077" y="2440789"/>
            <a:ext cx="2449516" cy="244791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solidFill>
                  <a:schemeClr val="tx1"/>
                </a:solidFill>
                <a:latin typeface="+mj-lt"/>
              </a:rPr>
              <a:t>Alerts</a:t>
            </a:r>
          </a:p>
        </p:txBody>
      </p:sp>
      <p:sp>
        <p:nvSpPr>
          <p:cNvPr id="17" name="Oval 16">
            <a:extLst>
              <a:ext uri="{FF2B5EF4-FFF2-40B4-BE49-F238E27FC236}">
                <a16:creationId xmlns:a16="http://schemas.microsoft.com/office/drawing/2014/main" id="{38E9BD66-80CA-4BB5-9FF9-78E63AF93EFF}"/>
              </a:ext>
            </a:extLst>
          </p:cNvPr>
          <p:cNvSpPr/>
          <p:nvPr/>
        </p:nvSpPr>
        <p:spPr>
          <a:xfrm>
            <a:off x="6474881" y="2440789"/>
            <a:ext cx="2449516" cy="244791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solidFill>
                  <a:schemeClr val="tx1"/>
                </a:solidFill>
                <a:latin typeface="+mj-lt"/>
              </a:rPr>
              <a:t>Automated</a:t>
            </a:r>
            <a:br>
              <a:rPr lang="en-US" sz="2400" dirty="0">
                <a:solidFill>
                  <a:schemeClr val="tx1"/>
                </a:solidFill>
                <a:latin typeface="+mj-lt"/>
              </a:rPr>
            </a:br>
            <a:r>
              <a:rPr lang="en-US" sz="2400" dirty="0">
                <a:solidFill>
                  <a:schemeClr val="tx1"/>
                </a:solidFill>
                <a:latin typeface="+mj-lt"/>
              </a:rPr>
              <a:t>pull requests</a:t>
            </a:r>
          </a:p>
        </p:txBody>
      </p:sp>
      <p:sp>
        <p:nvSpPr>
          <p:cNvPr id="22" name="Oval 21">
            <a:extLst>
              <a:ext uri="{FF2B5EF4-FFF2-40B4-BE49-F238E27FC236}">
                <a16:creationId xmlns:a16="http://schemas.microsoft.com/office/drawing/2014/main" id="{FF498F55-03F6-44BD-A4D7-1AFBB820D059}"/>
              </a:ext>
            </a:extLst>
          </p:cNvPr>
          <p:cNvSpPr/>
          <p:nvPr/>
        </p:nvSpPr>
        <p:spPr>
          <a:xfrm>
            <a:off x="9437684" y="2440789"/>
            <a:ext cx="2449516" cy="244791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400" dirty="0">
                <a:solidFill>
                  <a:schemeClr val="tx1"/>
                </a:solidFill>
                <a:latin typeface="+mj-lt"/>
              </a:rPr>
              <a:t>Review and </a:t>
            </a:r>
            <a:br>
              <a:rPr lang="en-US" sz="2400" dirty="0">
                <a:solidFill>
                  <a:schemeClr val="tx1"/>
                </a:solidFill>
                <a:latin typeface="+mj-lt"/>
              </a:rPr>
            </a:br>
            <a:r>
              <a:rPr lang="en-US" sz="2400" dirty="0">
                <a:solidFill>
                  <a:schemeClr val="tx1"/>
                </a:solidFill>
                <a:latin typeface="+mj-lt"/>
              </a:rPr>
              <a:t>triage</a:t>
            </a:r>
          </a:p>
        </p:txBody>
      </p:sp>
    </p:spTree>
    <p:extLst>
      <p:ext uri="{BB962C8B-B14F-4D97-AF65-F5344CB8AC3E}">
        <p14:creationId xmlns:p14="http://schemas.microsoft.com/office/powerpoint/2010/main" val="21279425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E6816-481D-4F60-B4C1-C7D41C045ABD}"/>
              </a:ext>
            </a:extLst>
          </p:cNvPr>
          <p:cNvSpPr>
            <a:spLocks noGrp="1"/>
          </p:cNvSpPr>
          <p:nvPr>
            <p:ph type="title"/>
          </p:nvPr>
        </p:nvSpPr>
        <p:spPr>
          <a:xfrm>
            <a:off x="427038" y="632779"/>
            <a:ext cx="11571287" cy="411162"/>
          </a:xfrm>
        </p:spPr>
        <p:txBody>
          <a:bodyPr/>
          <a:lstStyle/>
          <a:p>
            <a:r>
              <a:rPr lang="en-US" dirty="0"/>
              <a:t>Integrate software composition analysis checks into pipelines</a:t>
            </a:r>
          </a:p>
        </p:txBody>
      </p:sp>
      <p:pic>
        <p:nvPicPr>
          <p:cNvPr id="19" name="Picture 18" descr="Workflow diagram outlining how a build definition can trigger a static analysis scan of source code">
            <a:extLst>
              <a:ext uri="{FF2B5EF4-FFF2-40B4-BE49-F238E27FC236}">
                <a16:creationId xmlns:a16="http://schemas.microsoft.com/office/drawing/2014/main" id="{36B6F178-32C5-43CC-8AE8-5711B8588636}"/>
              </a:ext>
            </a:extLst>
          </p:cNvPr>
          <p:cNvPicPr>
            <a:picLocks noChangeAspect="1"/>
          </p:cNvPicPr>
          <p:nvPr/>
        </p:nvPicPr>
        <p:blipFill>
          <a:blip r:embed="rId3"/>
          <a:stretch>
            <a:fillRect/>
          </a:stretch>
        </p:blipFill>
        <p:spPr>
          <a:xfrm>
            <a:off x="435429" y="1317171"/>
            <a:ext cx="11565114" cy="3468925"/>
          </a:xfrm>
          <a:prstGeom prst="rect">
            <a:avLst/>
          </a:prstGeom>
          <a:ln w="19050">
            <a:solidFill>
              <a:schemeClr val="tx2"/>
            </a:solidFill>
          </a:ln>
        </p:spPr>
      </p:pic>
      <p:sp>
        <p:nvSpPr>
          <p:cNvPr id="8" name="Rectangle 7">
            <a:extLst>
              <a:ext uri="{FF2B5EF4-FFF2-40B4-BE49-F238E27FC236}">
                <a16:creationId xmlns:a16="http://schemas.microsoft.com/office/drawing/2014/main" id="{4649C24D-0317-4613-8D9B-EE23159B8D5E}"/>
              </a:ext>
            </a:extLst>
          </p:cNvPr>
          <p:cNvSpPr/>
          <p:nvPr/>
        </p:nvSpPr>
        <p:spPr>
          <a:xfrm>
            <a:off x="431580" y="4962561"/>
            <a:ext cx="3291840" cy="1220525"/>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lvl="0" defTabSz="1289050">
              <a:spcBef>
                <a:spcPct val="0"/>
              </a:spcBef>
            </a:pPr>
            <a:r>
              <a:rPr lang="en-US" sz="2000" i="1" dirty="0">
                <a:solidFill>
                  <a:schemeClr val="tx1"/>
                </a:solidFill>
              </a:rPr>
              <a:t>Pull requests </a:t>
            </a:r>
            <a:r>
              <a:rPr lang="en-US" sz="2000" dirty="0">
                <a:solidFill>
                  <a:schemeClr val="tx1"/>
                </a:solidFill>
              </a:rPr>
              <a:t>are the way DevOps teams submit changes</a:t>
            </a:r>
            <a:endParaRPr lang="en-IN" sz="2000" dirty="0">
              <a:solidFill>
                <a:schemeClr val="tx1"/>
              </a:solidFill>
            </a:endParaRPr>
          </a:p>
        </p:txBody>
      </p:sp>
      <p:sp>
        <p:nvSpPr>
          <p:cNvPr id="12" name="Rectangle 11">
            <a:extLst>
              <a:ext uri="{FF2B5EF4-FFF2-40B4-BE49-F238E27FC236}">
                <a16:creationId xmlns:a16="http://schemas.microsoft.com/office/drawing/2014/main" id="{7DFBF820-607E-4195-927F-8DCC07F623AA}"/>
              </a:ext>
            </a:extLst>
          </p:cNvPr>
          <p:cNvSpPr/>
          <p:nvPr/>
        </p:nvSpPr>
        <p:spPr>
          <a:xfrm>
            <a:off x="3895093" y="4962561"/>
            <a:ext cx="4448130" cy="1220525"/>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lvl="0" defTabSz="1289050">
              <a:spcBef>
                <a:spcPct val="0"/>
              </a:spcBef>
            </a:pPr>
            <a:r>
              <a:rPr lang="en-US" sz="2000" u="sng" dirty="0">
                <a:solidFill>
                  <a:schemeClr val="tx2"/>
                </a:solidFill>
                <a:hlinkClick r:id="rId4"/>
              </a:rPr>
              <a:t>Mend</a:t>
            </a:r>
            <a:r>
              <a:rPr lang="en-US" sz="2000" dirty="0">
                <a:solidFill>
                  <a:schemeClr val="tx1"/>
                </a:solidFill>
              </a:rPr>
              <a:t>, </a:t>
            </a:r>
            <a:r>
              <a:rPr lang="en-US" sz="2000" dirty="0" err="1">
                <a:solidFill>
                  <a:schemeClr val="tx2"/>
                </a:solidFill>
                <a:hlinkClick r:id="rId5">
                  <a:extLst>
                    <a:ext uri="{A12FA001-AC4F-418D-AE19-62706E023703}">
                      <ahyp:hlinkClr xmlns:ahyp="http://schemas.microsoft.com/office/drawing/2018/hyperlinkcolor" val="tx"/>
                    </a:ext>
                  </a:extLst>
                </a:hlinkClick>
              </a:rPr>
              <a:t>Checkmarx</a:t>
            </a:r>
            <a:r>
              <a:rPr lang="en-US" sz="2000" dirty="0">
                <a:solidFill>
                  <a:schemeClr val="tx1"/>
                </a:solidFill>
              </a:rPr>
              <a:t>, </a:t>
            </a:r>
            <a:r>
              <a:rPr lang="en-US" sz="2000" dirty="0">
                <a:solidFill>
                  <a:schemeClr val="tx2"/>
                </a:solidFill>
                <a:hlinkClick r:id="rId6">
                  <a:extLst>
                    <a:ext uri="{A12FA001-AC4F-418D-AE19-62706E023703}">
                      <ahyp:hlinkClr xmlns:ahyp="http://schemas.microsoft.com/office/drawing/2018/hyperlinkcolor" val="tx"/>
                    </a:ext>
                  </a:extLst>
                </a:hlinkClick>
              </a:rPr>
              <a:t>Veracode</a:t>
            </a:r>
            <a:r>
              <a:rPr lang="en-US" sz="2000" dirty="0">
                <a:solidFill>
                  <a:schemeClr val="tx1"/>
                </a:solidFill>
              </a:rPr>
              <a:t>, and </a:t>
            </a:r>
            <a:r>
              <a:rPr lang="en-US" sz="2000" dirty="0">
                <a:solidFill>
                  <a:schemeClr val="tx2"/>
                </a:solidFill>
                <a:hlinkClick r:id="rId7">
                  <a:extLst>
                    <a:ext uri="{A12FA001-AC4F-418D-AE19-62706E023703}">
                      <ahyp:hlinkClr xmlns:ahyp="http://schemas.microsoft.com/office/drawing/2018/hyperlinkcolor" val="tx"/>
                    </a:ext>
                  </a:extLst>
                </a:hlinkClick>
              </a:rPr>
              <a:t>Black Duck by Synopsis</a:t>
            </a:r>
            <a:r>
              <a:rPr lang="en-US" sz="2000" dirty="0">
                <a:solidFill>
                  <a:schemeClr val="tx2"/>
                </a:solidFill>
              </a:rPr>
              <a:t> </a:t>
            </a:r>
            <a:r>
              <a:rPr lang="en-US" sz="2000" dirty="0">
                <a:solidFill>
                  <a:schemeClr val="tx1"/>
                </a:solidFill>
              </a:rPr>
              <a:t>can facilitate incremental scans </a:t>
            </a:r>
            <a:endParaRPr lang="en-IN" sz="2000" dirty="0">
              <a:solidFill>
                <a:schemeClr val="tx1"/>
              </a:solidFill>
            </a:endParaRPr>
          </a:p>
        </p:txBody>
      </p:sp>
      <p:sp>
        <p:nvSpPr>
          <p:cNvPr id="16" name="Rectangle 15">
            <a:extLst>
              <a:ext uri="{FF2B5EF4-FFF2-40B4-BE49-F238E27FC236}">
                <a16:creationId xmlns:a16="http://schemas.microsoft.com/office/drawing/2014/main" id="{8D320567-D85C-48CF-BB18-C9B2E7243F8D}"/>
              </a:ext>
            </a:extLst>
          </p:cNvPr>
          <p:cNvSpPr/>
          <p:nvPr/>
        </p:nvSpPr>
        <p:spPr>
          <a:xfrm>
            <a:off x="8514896" y="4962561"/>
            <a:ext cx="3483429" cy="1220525"/>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lvl="0" defTabSz="1289050">
              <a:spcBef>
                <a:spcPct val="0"/>
              </a:spcBef>
            </a:pPr>
            <a:r>
              <a:rPr lang="en-US" sz="2000" dirty="0">
                <a:solidFill>
                  <a:schemeClr val="tx1"/>
                </a:solidFill>
              </a:rPr>
              <a:t>Integrate scanning into a team’s workflow at multiple points along the path</a:t>
            </a:r>
            <a:endParaRPr lang="en-IN" sz="2000" dirty="0">
              <a:solidFill>
                <a:schemeClr val="tx1"/>
              </a:solidFill>
            </a:endParaRPr>
          </a:p>
        </p:txBody>
      </p:sp>
    </p:spTree>
    <p:extLst>
      <p:ext uri="{BB962C8B-B14F-4D97-AF65-F5344CB8AC3E}">
        <p14:creationId xmlns:p14="http://schemas.microsoft.com/office/powerpoint/2010/main" val="392866527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44CD0-04CA-47E4-83FB-ADD4927E3DA6}"/>
              </a:ext>
            </a:extLst>
          </p:cNvPr>
          <p:cNvSpPr>
            <a:spLocks noGrp="1"/>
          </p:cNvSpPr>
          <p:nvPr>
            <p:ph type="title"/>
          </p:nvPr>
        </p:nvSpPr>
        <p:spPr>
          <a:xfrm>
            <a:off x="465138" y="632779"/>
            <a:ext cx="11533187" cy="411162"/>
          </a:xfrm>
        </p:spPr>
        <p:txBody>
          <a:bodyPr/>
          <a:lstStyle/>
          <a:p>
            <a:r>
              <a:rPr lang="en-US" dirty="0"/>
              <a:t>Examine tools for assess package security and license rate</a:t>
            </a:r>
          </a:p>
        </p:txBody>
      </p:sp>
      <p:sp>
        <p:nvSpPr>
          <p:cNvPr id="3" name="Rectangle 2">
            <a:extLst>
              <a:ext uri="{FF2B5EF4-FFF2-40B4-BE49-F238E27FC236}">
                <a16:creationId xmlns:a16="http://schemas.microsoft.com/office/drawing/2014/main" id="{41E4461E-087D-47BF-893D-EC653D1CBA14}"/>
              </a:ext>
            </a:extLst>
          </p:cNvPr>
          <p:cNvSpPr>
            <a:spLocks/>
          </p:cNvSpPr>
          <p:nvPr/>
        </p:nvSpPr>
        <p:spPr bwMode="auto">
          <a:xfrm>
            <a:off x="427036" y="1600947"/>
            <a:ext cx="5706722" cy="1128712"/>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p>
            <a:pPr marL="0" lvl="1">
              <a:defRPr/>
            </a:pPr>
            <a:r>
              <a:rPr lang="en-US" sz="2400">
                <a:solidFill>
                  <a:schemeClr val="tx1"/>
                </a:solidFill>
                <a:latin typeface="+mj-lt"/>
              </a:rPr>
              <a:t>Approach 1: </a:t>
            </a:r>
            <a:br>
              <a:rPr lang="en-US" sz="2400">
                <a:solidFill>
                  <a:schemeClr val="tx1"/>
                </a:solidFill>
                <a:latin typeface="+mj-lt"/>
              </a:rPr>
            </a:br>
            <a:r>
              <a:rPr lang="en-US" sz="2400">
                <a:solidFill>
                  <a:schemeClr val="tx1"/>
                </a:solidFill>
              </a:rPr>
              <a:t>Scan centralized artifact repository</a:t>
            </a:r>
          </a:p>
        </p:txBody>
      </p:sp>
      <p:sp>
        <p:nvSpPr>
          <p:cNvPr id="4" name="Rectangle 3">
            <a:extLst>
              <a:ext uri="{FF2B5EF4-FFF2-40B4-BE49-F238E27FC236}">
                <a16:creationId xmlns:a16="http://schemas.microsoft.com/office/drawing/2014/main" id="{C60F0A18-759E-40B7-B2C2-95512B674A3F}"/>
              </a:ext>
            </a:extLst>
          </p:cNvPr>
          <p:cNvSpPr>
            <a:spLocks/>
          </p:cNvSpPr>
          <p:nvPr/>
        </p:nvSpPr>
        <p:spPr bwMode="auto">
          <a:xfrm>
            <a:off x="6291602" y="1600947"/>
            <a:ext cx="5706722" cy="1128712"/>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82880" bIns="137160" numCol="1" spcCol="0" rtlCol="0" fromWordArt="0" anchor="ctr" anchorCtr="0" forceAA="0" compatLnSpc="1">
            <a:prstTxWarp prst="textNoShape">
              <a:avLst/>
            </a:prstTxWarp>
            <a:noAutofit/>
          </a:bodyPr>
          <a:lstStyle/>
          <a:p>
            <a:pPr lvl="0">
              <a:defRPr/>
            </a:pPr>
            <a:r>
              <a:rPr lang="en-US" sz="2400">
                <a:solidFill>
                  <a:schemeClr val="tx1"/>
                </a:solidFill>
                <a:latin typeface="+mj-lt"/>
              </a:rPr>
              <a:t>Approach 2: </a:t>
            </a:r>
            <a:br>
              <a:rPr lang="en-US" sz="2400">
                <a:solidFill>
                  <a:schemeClr val="tx1"/>
                </a:solidFill>
                <a:latin typeface="+mj-lt"/>
              </a:rPr>
            </a:br>
            <a:r>
              <a:rPr lang="en-US" sz="2400">
                <a:solidFill>
                  <a:schemeClr val="tx1"/>
                </a:solidFill>
              </a:rPr>
              <a:t>Tooling during build in pipeline</a:t>
            </a:r>
          </a:p>
        </p:txBody>
      </p:sp>
      <p:graphicFrame>
        <p:nvGraphicFramePr>
          <p:cNvPr id="5" name="Table 4">
            <a:extLst>
              <a:ext uri="{FF2B5EF4-FFF2-40B4-BE49-F238E27FC236}">
                <a16:creationId xmlns:a16="http://schemas.microsoft.com/office/drawing/2014/main" id="{6522225A-E34C-4DAE-8DEB-8A8D135B0F34}"/>
              </a:ext>
            </a:extLst>
          </p:cNvPr>
          <p:cNvGraphicFramePr>
            <a:graphicFrameLocks noGrp="1"/>
          </p:cNvGraphicFramePr>
          <p:nvPr>
            <p:extLst>
              <p:ext uri="{D42A27DB-BD31-4B8C-83A1-F6EECF244321}">
                <p14:modId xmlns:p14="http://schemas.microsoft.com/office/powerpoint/2010/main" val="568180664"/>
              </p:ext>
            </p:extLst>
          </p:nvPr>
        </p:nvGraphicFramePr>
        <p:xfrm>
          <a:off x="427038" y="2883645"/>
          <a:ext cx="11571288" cy="2377440"/>
        </p:xfrm>
        <a:graphic>
          <a:graphicData uri="http://schemas.openxmlformats.org/drawingml/2006/table">
            <a:tbl>
              <a:tblPr firstRow="1" firstCol="1" bandRow="1">
                <a:tableStyleId>{B301B821-A1FF-4177-AEE7-76D212191A09}</a:tableStyleId>
              </a:tblPr>
              <a:tblGrid>
                <a:gridCol w="5785644">
                  <a:extLst>
                    <a:ext uri="{9D8B030D-6E8A-4147-A177-3AD203B41FA5}">
                      <a16:colId xmlns:a16="http://schemas.microsoft.com/office/drawing/2014/main" val="1345882144"/>
                    </a:ext>
                  </a:extLst>
                </a:gridCol>
                <a:gridCol w="5785644">
                  <a:extLst>
                    <a:ext uri="{9D8B030D-6E8A-4147-A177-3AD203B41FA5}">
                      <a16:colId xmlns:a16="http://schemas.microsoft.com/office/drawing/2014/main" val="1086091707"/>
                    </a:ext>
                  </a:extLst>
                </a:gridCol>
              </a:tblGrid>
              <a:tr h="0">
                <a:tc>
                  <a:txBody>
                    <a:bodyPr/>
                    <a:lstStyle/>
                    <a:p>
                      <a:pPr marL="0" marR="0" algn="just">
                        <a:lnSpc>
                          <a:spcPct val="100000"/>
                        </a:lnSpc>
                        <a:spcBef>
                          <a:spcPts val="0"/>
                        </a:spcBef>
                        <a:spcAft>
                          <a:spcPts val="0"/>
                        </a:spcAft>
                      </a:pPr>
                      <a:r>
                        <a:rPr lang="en-US" sz="2400" b="0">
                          <a:solidFill>
                            <a:schemeClr val="bg1"/>
                          </a:solidFill>
                          <a:effectLst/>
                          <a:latin typeface="+mj-lt"/>
                          <a:cs typeface="Segoe UI Semibold" panose="020B0702040204020203" pitchFamily="34" charset="0"/>
                        </a:rPr>
                        <a:t>Tool</a:t>
                      </a:r>
                      <a:endParaRPr lang="en-US" sz="2400" b="0">
                        <a:solidFill>
                          <a:schemeClr val="bg1"/>
                        </a:solidFill>
                        <a:effectLst/>
                        <a:latin typeface="+mj-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rgbClr val="243A5E"/>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243A5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p>
                      <a:pPr marL="0" marR="0" algn="just">
                        <a:lnSpc>
                          <a:spcPct val="100000"/>
                        </a:lnSpc>
                        <a:spcBef>
                          <a:spcPts val="0"/>
                        </a:spcBef>
                        <a:spcAft>
                          <a:spcPts val="0"/>
                        </a:spcAft>
                      </a:pPr>
                      <a:r>
                        <a:rPr lang="en-US" sz="2400" b="0">
                          <a:solidFill>
                            <a:schemeClr val="bg1"/>
                          </a:solidFill>
                          <a:effectLst/>
                          <a:latin typeface="+mj-lt"/>
                          <a:cs typeface="Segoe UI Semibold" panose="020B0702040204020203" pitchFamily="34" charset="0"/>
                        </a:rPr>
                        <a:t>Type</a:t>
                      </a:r>
                      <a:endParaRPr lang="en-US" sz="2400" b="0">
                        <a:solidFill>
                          <a:schemeClr val="bg1"/>
                        </a:solidFill>
                        <a:effectLst/>
                        <a:latin typeface="+mj-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solidFill>
                      <a:prstDash val="solid"/>
                      <a:round/>
                      <a:headEnd type="none" w="med" len="med"/>
                      <a:tailEnd type="none" w="med" len="med"/>
                    </a:lnL>
                    <a:lnR w="6350" cap="flat" cmpd="sng" algn="ctr">
                      <a:solidFill>
                        <a:srgbClr val="243A5E"/>
                      </a:solidFill>
                      <a:prstDash val="solid"/>
                      <a:round/>
                      <a:headEnd type="none" w="med" len="med"/>
                      <a:tailEnd type="none" w="med" len="med"/>
                    </a:lnR>
                    <a:lnT w="6350" cap="flat" cmpd="sng" algn="ctr">
                      <a:solidFill>
                        <a:srgbClr val="243A5E"/>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389416738"/>
                  </a:ext>
                </a:extLst>
              </a:tr>
              <a:tr h="412932">
                <a:tc>
                  <a:txBody>
                    <a:bodyPr/>
                    <a:lstStyle/>
                    <a:p>
                      <a:pPr marL="0" marR="0" algn="just" defTabSz="932742" rtl="0" eaLnBrk="1" latinLnBrk="0" hangingPunct="1">
                        <a:lnSpc>
                          <a:spcPct val="100000"/>
                        </a:lnSpc>
                        <a:spcBef>
                          <a:spcPts val="0"/>
                        </a:spcBef>
                        <a:spcAft>
                          <a:spcPts val="0"/>
                        </a:spcAft>
                      </a:pPr>
                      <a:r>
                        <a:rPr lang="en-US" sz="2000" b="0" kern="1200">
                          <a:solidFill>
                            <a:schemeClr val="tx1"/>
                          </a:solidFill>
                          <a:effectLst/>
                          <a:latin typeface="+mn-lt"/>
                          <a:ea typeface="Calibri" panose="020F0502020204030204" pitchFamily="34" charset="0"/>
                          <a:cs typeface="Segoe UI Semilight" panose="020B0402040204020203" pitchFamily="34" charset="0"/>
                        </a:rPr>
                        <a:t>Artifactory</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2000" b="0">
                          <a:solidFill>
                            <a:schemeClr val="tx1"/>
                          </a:solidFill>
                          <a:effectLst/>
                          <a:latin typeface="+mn-lt"/>
                          <a:cs typeface="Segoe UI Semibold" panose="020B0702040204020203" pitchFamily="34" charset="0"/>
                        </a:rPr>
                        <a:t>Artifact repository</a:t>
                      </a:r>
                      <a:endParaRPr lang="en-US" sz="2000" b="0">
                        <a:solidFill>
                          <a:schemeClr val="tx1"/>
                        </a:solidFill>
                        <a:effectLst/>
                        <a:latin typeface="+mn-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5524992"/>
                  </a:ext>
                </a:extLst>
              </a:tr>
              <a:tr h="457200">
                <a:tc>
                  <a:txBody>
                    <a:bodyPr/>
                    <a:lstStyle/>
                    <a:p>
                      <a:pPr marL="0" marR="0" algn="just">
                        <a:lnSpc>
                          <a:spcPct val="100000"/>
                        </a:lnSpc>
                        <a:spcBef>
                          <a:spcPts val="0"/>
                        </a:spcBef>
                        <a:spcAft>
                          <a:spcPts val="0"/>
                        </a:spcAft>
                      </a:pPr>
                      <a:r>
                        <a:rPr lang="en-US" sz="2000" b="0" dirty="0">
                          <a:solidFill>
                            <a:schemeClr val="tx1"/>
                          </a:solidFill>
                          <a:effectLst/>
                          <a:latin typeface="+mn-lt"/>
                          <a:ea typeface="Calibri" panose="020F0502020204030204" pitchFamily="34" charset="0"/>
                          <a:cs typeface="Segoe UI Semilight" panose="020B0402040204020203" pitchFamily="34" charset="0"/>
                        </a:rPr>
                        <a:t>SonarQube</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2000" b="0" kern="1200" dirty="0">
                          <a:solidFill>
                            <a:schemeClr val="tx1"/>
                          </a:solidFill>
                          <a:effectLst/>
                          <a:latin typeface="+mn-lt"/>
                          <a:ea typeface="+mn-ea"/>
                          <a:cs typeface="Segoe UI Semibold" panose="020B0702040204020203" pitchFamily="34" charset="0"/>
                        </a:rPr>
                        <a:t>Static code analysis tool</a:t>
                      </a:r>
                      <a:endParaRPr lang="en-US" sz="2000" b="0" kern="1200" dirty="0">
                        <a:solidFill>
                          <a:schemeClr val="tx1"/>
                        </a:solidFill>
                        <a:effectLst/>
                        <a:latin typeface="+mn-lt"/>
                        <a:ea typeface="Calibri" panose="020F0502020204030204" pitchFamily="34" charset="0"/>
                        <a:cs typeface="Segoe UI Semibold" panose="020B0702040204020203" pitchFamily="34" charset="0"/>
                      </a:endParaRP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150387"/>
                  </a:ext>
                </a:extLst>
              </a:tr>
              <a:tr h="457200">
                <a:tc>
                  <a:txBody>
                    <a:bodyPr/>
                    <a:lstStyle/>
                    <a:p>
                      <a:pPr marL="0" marR="0" algn="just">
                        <a:lnSpc>
                          <a:spcPct val="100000"/>
                        </a:lnSpc>
                        <a:spcBef>
                          <a:spcPts val="0"/>
                        </a:spcBef>
                        <a:spcAft>
                          <a:spcPts val="0"/>
                        </a:spcAft>
                      </a:pPr>
                      <a:r>
                        <a:rPr lang="en-US" sz="2000" b="0" dirty="0">
                          <a:solidFill>
                            <a:schemeClr val="tx1"/>
                          </a:solidFill>
                          <a:effectLst/>
                          <a:latin typeface="+mn-lt"/>
                          <a:ea typeface="Calibri" panose="020F0502020204030204" pitchFamily="34" charset="0"/>
                          <a:cs typeface="Segoe UI Semilight" panose="020B0402040204020203" pitchFamily="34" charset="0"/>
                        </a:rPr>
                        <a:t>Mend Bolt</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32742" rtl="0" eaLnBrk="1" fontAlgn="auto" latinLnBrk="0" hangingPunct="1">
                        <a:lnSpc>
                          <a:spcPct val="100000"/>
                        </a:lnSpc>
                        <a:spcBef>
                          <a:spcPts val="0"/>
                        </a:spcBef>
                        <a:spcAft>
                          <a:spcPts val="0"/>
                        </a:spcAft>
                        <a:buClrTx/>
                        <a:buSzTx/>
                        <a:buFontTx/>
                        <a:buNone/>
                        <a:tabLst/>
                        <a:defRPr/>
                      </a:pPr>
                      <a:r>
                        <a:rPr lang="en-US" sz="2000" b="0" dirty="0">
                          <a:solidFill>
                            <a:schemeClr val="tx1"/>
                          </a:solidFill>
                          <a:effectLst/>
                          <a:latin typeface="+mn-lt"/>
                          <a:ea typeface="Calibri" panose="020F0502020204030204" pitchFamily="34" charset="0"/>
                          <a:cs typeface="Segoe UI Semilight" panose="020B0402040204020203" pitchFamily="34" charset="0"/>
                        </a:rPr>
                        <a:t>Build scanning</a:t>
                      </a:r>
                    </a:p>
                  </a:txBody>
                  <a:tcPr marL="182880" marR="182880" marT="137160" marB="13716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613303"/>
                  </a:ext>
                </a:extLst>
              </a:tr>
            </a:tbl>
          </a:graphicData>
        </a:graphic>
      </p:graphicFrame>
    </p:spTree>
    <p:extLst>
      <p:ext uri="{BB962C8B-B14F-4D97-AF65-F5344CB8AC3E}">
        <p14:creationId xmlns:p14="http://schemas.microsoft.com/office/powerpoint/2010/main" val="16052441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9437B-AC3D-4BB0-A38A-C1D6EC02E398}"/>
              </a:ext>
            </a:extLst>
          </p:cNvPr>
          <p:cNvSpPr>
            <a:spLocks noGrp="1"/>
          </p:cNvSpPr>
          <p:nvPr>
            <p:ph type="title"/>
          </p:nvPr>
        </p:nvSpPr>
        <p:spPr>
          <a:xfrm>
            <a:off x="465138" y="632779"/>
            <a:ext cx="11533187" cy="411162"/>
          </a:xfrm>
        </p:spPr>
        <p:txBody>
          <a:bodyPr/>
          <a:lstStyle/>
          <a:p>
            <a:r>
              <a:rPr lang="en-US" dirty="0"/>
              <a:t>Interpret alerts from scanner tools</a:t>
            </a:r>
          </a:p>
        </p:txBody>
      </p:sp>
      <p:sp>
        <p:nvSpPr>
          <p:cNvPr id="4" name="TextBox 3">
            <a:extLst>
              <a:ext uri="{FF2B5EF4-FFF2-40B4-BE49-F238E27FC236}">
                <a16:creationId xmlns:a16="http://schemas.microsoft.com/office/drawing/2014/main" id="{B46ECDF2-0192-413A-A68A-319699E5F8D8}"/>
              </a:ext>
            </a:extLst>
          </p:cNvPr>
          <p:cNvSpPr txBox="1">
            <a:spLocks/>
          </p:cNvSpPr>
          <p:nvPr/>
        </p:nvSpPr>
        <p:spPr>
          <a:xfrm>
            <a:off x="436111" y="1334400"/>
            <a:ext cx="5530738" cy="1757142"/>
          </a:xfrm>
          <a:prstGeom prst="rect">
            <a:avLst/>
          </a:prstGeom>
          <a:solidFill>
            <a:schemeClr val="bg1">
              <a:lumMod val="95000"/>
            </a:schemeClr>
          </a:solidFill>
          <a:ln w="19050">
            <a:noFill/>
          </a:ln>
        </p:spPr>
        <p:txBody>
          <a:bodyPr wrap="square" lIns="182880" tIns="137160" rIns="182880" bIns="137160" rtlCol="0">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Report Contains:</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Security vulnerabilities</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License risks and compliancy</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Outdated libraries</a:t>
            </a:r>
          </a:p>
        </p:txBody>
      </p:sp>
      <p:sp>
        <p:nvSpPr>
          <p:cNvPr id="5" name="TextBox 4">
            <a:extLst>
              <a:ext uri="{FF2B5EF4-FFF2-40B4-BE49-F238E27FC236}">
                <a16:creationId xmlns:a16="http://schemas.microsoft.com/office/drawing/2014/main" id="{21EBEB1D-A6B1-4B4C-80CD-00643B85A30B}"/>
              </a:ext>
            </a:extLst>
          </p:cNvPr>
          <p:cNvSpPr txBox="1">
            <a:spLocks/>
          </p:cNvSpPr>
          <p:nvPr/>
        </p:nvSpPr>
        <p:spPr>
          <a:xfrm>
            <a:off x="6097635" y="1334400"/>
            <a:ext cx="5909763" cy="1757142"/>
          </a:xfrm>
          <a:prstGeom prst="rect">
            <a:avLst/>
          </a:prstGeom>
          <a:solidFill>
            <a:schemeClr val="bg1">
              <a:lumMod val="95000"/>
            </a:schemeClr>
          </a:solidFill>
        </p:spPr>
        <p:txBody>
          <a:bodyPr wrap="square" lIns="182880" tIns="137160" rIns="182880" bIns="137160" rtlCol="0">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mj-lt"/>
                <a:ea typeface="+mn-ea"/>
                <a:cs typeface="+mn-cs"/>
              </a:rPr>
              <a:t>Aspects to keep in mind: </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False positives</a:t>
            </a:r>
          </a:p>
          <a:p>
            <a:pPr marL="0" marR="0" lvl="1" algn="l" defTabSz="932742" rtl="0" eaLnBrk="1" fontAlgn="auto" latinLnBrk="0" hangingPunct="1">
              <a:lnSpc>
                <a:spcPct val="100000"/>
              </a:lnSpc>
              <a:spcBef>
                <a:spcPts val="400"/>
              </a:spcBef>
              <a:spcAft>
                <a:spcPts val="4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ecurity bug bar</a:t>
            </a:r>
          </a:p>
        </p:txBody>
      </p:sp>
      <p:pic>
        <p:nvPicPr>
          <p:cNvPr id="3" name="Picture 2" descr="A screenshot showing security with Vulnerability Score, Vulnerable Libraries, Severity Distribution and Aging Vulnerable Libraries under it">
            <a:extLst>
              <a:ext uri="{FF2B5EF4-FFF2-40B4-BE49-F238E27FC236}">
                <a16:creationId xmlns:a16="http://schemas.microsoft.com/office/drawing/2014/main" id="{23FC5AE4-2558-4B47-8229-2BF461CF26E9}"/>
              </a:ext>
            </a:extLst>
          </p:cNvPr>
          <p:cNvPicPr>
            <a:picLocks noChangeAspect="1"/>
          </p:cNvPicPr>
          <p:nvPr/>
        </p:nvPicPr>
        <p:blipFill rotWithShape="1">
          <a:blip r:embed="rId3"/>
          <a:srcRect l="-514" t="-4054" r="-514"/>
          <a:stretch/>
        </p:blipFill>
        <p:spPr>
          <a:xfrm>
            <a:off x="436110" y="3250521"/>
            <a:ext cx="11571287" cy="2794203"/>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25011323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Module 04: Static analyzers</a:t>
            </a:r>
          </a:p>
        </p:txBody>
      </p:sp>
      <p:pic>
        <p:nvPicPr>
          <p:cNvPr id="2" name="Picture 1" descr="Icon of arrow pointing in four opposite directions">
            <a:extLst>
              <a:ext uri="{FF2B5EF4-FFF2-40B4-BE49-F238E27FC236}">
                <a16:creationId xmlns:a16="http://schemas.microsoft.com/office/drawing/2014/main" id="{1F6FB381-EE06-413F-8F3A-A46E0EFDEB04}"/>
              </a:ext>
            </a:extLst>
          </p:cNvPr>
          <p:cNvPicPr>
            <a:picLocks noChangeAspect="1"/>
          </p:cNvPicPr>
          <p:nvPr/>
        </p:nvPicPr>
        <p:blipFill>
          <a:blip r:embed="rId3"/>
          <a:stretch>
            <a:fillRect/>
          </a:stretch>
        </p:blipFill>
        <p:spPr>
          <a:xfrm>
            <a:off x="10506742" y="3040062"/>
            <a:ext cx="914400" cy="914400"/>
          </a:xfrm>
          <a:prstGeom prst="rect">
            <a:avLst/>
          </a:prstGeom>
        </p:spPr>
      </p:pic>
    </p:spTree>
    <p:extLst>
      <p:ext uri="{BB962C8B-B14F-4D97-AF65-F5344CB8AC3E}">
        <p14:creationId xmlns:p14="http://schemas.microsoft.com/office/powerpoint/2010/main" val="1686325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1B9C-B4A1-4E8B-BDD0-8D4B9DE9519A}"/>
              </a:ext>
            </a:extLst>
          </p:cNvPr>
          <p:cNvSpPr>
            <a:spLocks noGrp="1"/>
          </p:cNvSpPr>
          <p:nvPr>
            <p:ph type="title"/>
          </p:nvPr>
        </p:nvSpPr>
        <p:spPr>
          <a:xfrm>
            <a:off x="427038" y="632779"/>
            <a:ext cx="11571287" cy="411162"/>
          </a:xfrm>
        </p:spPr>
        <p:txBody>
          <a:bodyPr/>
          <a:lstStyle/>
          <a:p>
            <a:r>
              <a:rPr lang="en-US" dirty="0"/>
              <a:t>Learning Path overview</a:t>
            </a:r>
          </a:p>
        </p:txBody>
      </p:sp>
      <p:pic>
        <p:nvPicPr>
          <p:cNvPr id="7" name="Picture 6" descr="Icon of a magnifying glass">
            <a:extLst>
              <a:ext uri="{FF2B5EF4-FFF2-40B4-BE49-F238E27FC236}">
                <a16:creationId xmlns:a16="http://schemas.microsoft.com/office/drawing/2014/main" id="{65DAB841-5E62-45E1-AEB3-228C143E7EEA}"/>
              </a:ext>
            </a:extLst>
          </p:cNvPr>
          <p:cNvPicPr>
            <a:picLocks noChangeAspect="1"/>
          </p:cNvPicPr>
          <p:nvPr/>
        </p:nvPicPr>
        <p:blipFill>
          <a:blip r:embed="rId2"/>
          <a:stretch>
            <a:fillRect/>
          </a:stretch>
        </p:blipFill>
        <p:spPr>
          <a:xfrm>
            <a:off x="450646" y="1398201"/>
            <a:ext cx="835152" cy="835152"/>
          </a:xfrm>
          <a:prstGeom prst="rect">
            <a:avLst/>
          </a:prstGeom>
        </p:spPr>
      </p:pic>
      <p:sp>
        <p:nvSpPr>
          <p:cNvPr id="8" name="TextBox 7">
            <a:extLst>
              <a:ext uri="{FF2B5EF4-FFF2-40B4-BE49-F238E27FC236}">
                <a16:creationId xmlns:a16="http://schemas.microsoft.com/office/drawing/2014/main" id="{9F2DDDB0-CA64-4FA3-BBA0-391321E3EE35}"/>
              </a:ext>
            </a:extLst>
          </p:cNvPr>
          <p:cNvSpPr txBox="1"/>
          <p:nvPr/>
        </p:nvSpPr>
        <p:spPr>
          <a:xfrm>
            <a:off x="1509714" y="1507246"/>
            <a:ext cx="4175124" cy="615553"/>
          </a:xfrm>
          <a:prstGeom prst="rect">
            <a:avLst/>
          </a:prstGeom>
          <a:noFill/>
        </p:spPr>
        <p:txBody>
          <a:bodyPr wrap="square" lIns="0" tIns="0" rIns="0" bIns="0" rtlCol="0" anchor="ctr">
            <a:spAutoFit/>
          </a:bodyPr>
          <a:lstStyle/>
          <a:p>
            <a:pPr>
              <a:spcAft>
                <a:spcPts val="600"/>
              </a:spcAft>
            </a:pPr>
            <a:r>
              <a:rPr lang="en-US" sz="2000" dirty="0"/>
              <a:t>Module 01: Introduction to Secure DevOps</a:t>
            </a:r>
          </a:p>
        </p:txBody>
      </p:sp>
      <p:cxnSp>
        <p:nvCxnSpPr>
          <p:cNvPr id="9" name="Straight Connector 8">
            <a:extLst>
              <a:ext uri="{FF2B5EF4-FFF2-40B4-BE49-F238E27FC236}">
                <a16:creationId xmlns:a16="http://schemas.microsoft.com/office/drawing/2014/main" id="{0EF2D138-49D8-4071-997B-AACDA1E7A48E}"/>
              </a:ext>
              <a:ext uri="{C183D7F6-B498-43B3-948B-1728B52AA6E4}">
                <adec:decorative xmlns:adec="http://schemas.microsoft.com/office/drawing/2017/decorative" val="1"/>
              </a:ext>
            </a:extLst>
          </p:cNvPr>
          <p:cNvCxnSpPr>
            <a:cxnSpLocks/>
          </p:cNvCxnSpPr>
          <p:nvPr/>
        </p:nvCxnSpPr>
        <p:spPr>
          <a:xfrm>
            <a:off x="1509714" y="2373055"/>
            <a:ext cx="397490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Icon of a cloud with multiples lines extending from it">
            <a:extLst>
              <a:ext uri="{FF2B5EF4-FFF2-40B4-BE49-F238E27FC236}">
                <a16:creationId xmlns:a16="http://schemas.microsoft.com/office/drawing/2014/main" id="{74E1544F-E5D3-4789-9136-63BE45C2BAEA}"/>
              </a:ext>
            </a:extLst>
          </p:cNvPr>
          <p:cNvPicPr>
            <a:picLocks noChangeAspect="1"/>
          </p:cNvPicPr>
          <p:nvPr/>
        </p:nvPicPr>
        <p:blipFill>
          <a:blip r:embed="rId3"/>
          <a:stretch>
            <a:fillRect/>
          </a:stretch>
        </p:blipFill>
        <p:spPr>
          <a:xfrm>
            <a:off x="450646" y="2514267"/>
            <a:ext cx="836676" cy="836676"/>
          </a:xfrm>
          <a:prstGeom prst="rect">
            <a:avLst/>
          </a:prstGeom>
        </p:spPr>
      </p:pic>
      <p:sp>
        <p:nvSpPr>
          <p:cNvPr id="12" name="TextBox 11">
            <a:extLst>
              <a:ext uri="{FF2B5EF4-FFF2-40B4-BE49-F238E27FC236}">
                <a16:creationId xmlns:a16="http://schemas.microsoft.com/office/drawing/2014/main" id="{FEB08A74-440E-448B-85AD-5BE643AAF941}"/>
              </a:ext>
            </a:extLst>
          </p:cNvPr>
          <p:cNvSpPr txBox="1"/>
          <p:nvPr/>
        </p:nvSpPr>
        <p:spPr>
          <a:xfrm>
            <a:off x="1509714" y="2623313"/>
            <a:ext cx="4175124" cy="615553"/>
          </a:xfrm>
          <a:prstGeom prst="rect">
            <a:avLst/>
          </a:prstGeom>
          <a:noFill/>
        </p:spPr>
        <p:txBody>
          <a:bodyPr wrap="square" lIns="0" tIns="0" rIns="0" bIns="0" rtlCol="0" anchor="ctr">
            <a:spAutoFit/>
          </a:bodyPr>
          <a:lstStyle/>
          <a:p>
            <a:pPr>
              <a:spcAft>
                <a:spcPts val="600"/>
              </a:spcAft>
            </a:pPr>
            <a:r>
              <a:rPr lang="en-US" sz="2000" dirty="0"/>
              <a:t>Module 02: Implement open-source software</a:t>
            </a:r>
          </a:p>
        </p:txBody>
      </p:sp>
      <p:cxnSp>
        <p:nvCxnSpPr>
          <p:cNvPr id="13" name="Straight Connector 12">
            <a:extLst>
              <a:ext uri="{FF2B5EF4-FFF2-40B4-BE49-F238E27FC236}">
                <a16:creationId xmlns:a16="http://schemas.microsoft.com/office/drawing/2014/main" id="{16AEB0F8-E825-4861-ACFD-66915F91478A}"/>
              </a:ext>
              <a:ext uri="{C183D7F6-B498-43B3-948B-1728B52AA6E4}">
                <adec:decorative xmlns:adec="http://schemas.microsoft.com/office/drawing/2017/decorative" val="1"/>
              </a:ext>
            </a:extLst>
          </p:cNvPr>
          <p:cNvCxnSpPr>
            <a:cxnSpLocks/>
          </p:cNvCxnSpPr>
          <p:nvPr/>
        </p:nvCxnSpPr>
        <p:spPr>
          <a:xfrm>
            <a:off x="1509714" y="3489121"/>
            <a:ext cx="397490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13" descr="Icon of a webpage layout template">
            <a:extLst>
              <a:ext uri="{FF2B5EF4-FFF2-40B4-BE49-F238E27FC236}">
                <a16:creationId xmlns:a16="http://schemas.microsoft.com/office/drawing/2014/main" id="{2EB63ACB-F6CC-401F-B1A2-6F78C1959F1C}"/>
              </a:ext>
            </a:extLst>
          </p:cNvPr>
          <p:cNvPicPr>
            <a:picLocks noChangeAspect="1"/>
          </p:cNvPicPr>
          <p:nvPr/>
        </p:nvPicPr>
        <p:blipFill>
          <a:blip r:embed="rId4"/>
          <a:stretch>
            <a:fillRect/>
          </a:stretch>
        </p:blipFill>
        <p:spPr>
          <a:xfrm>
            <a:off x="450646" y="3628823"/>
            <a:ext cx="838200" cy="838200"/>
          </a:xfrm>
          <a:prstGeom prst="rect">
            <a:avLst/>
          </a:prstGeom>
        </p:spPr>
      </p:pic>
      <p:sp>
        <p:nvSpPr>
          <p:cNvPr id="15" name="TextBox 14">
            <a:extLst>
              <a:ext uri="{FF2B5EF4-FFF2-40B4-BE49-F238E27FC236}">
                <a16:creationId xmlns:a16="http://schemas.microsoft.com/office/drawing/2014/main" id="{B6FA7B1A-5D29-4DED-99C1-5BEE995BDAB6}"/>
              </a:ext>
            </a:extLst>
          </p:cNvPr>
          <p:cNvSpPr txBox="1"/>
          <p:nvPr/>
        </p:nvSpPr>
        <p:spPr>
          <a:xfrm>
            <a:off x="1509714" y="3739379"/>
            <a:ext cx="3974905" cy="615553"/>
          </a:xfrm>
          <a:prstGeom prst="rect">
            <a:avLst/>
          </a:prstGeom>
          <a:noFill/>
        </p:spPr>
        <p:txBody>
          <a:bodyPr wrap="square" lIns="0" tIns="0" rIns="0" bIns="0" rtlCol="0" anchor="ctr">
            <a:spAutoFit/>
          </a:bodyPr>
          <a:lstStyle/>
          <a:p>
            <a:pPr>
              <a:spcAft>
                <a:spcPts val="600"/>
              </a:spcAft>
            </a:pPr>
            <a:r>
              <a:rPr lang="en-US" sz="2000" dirty="0"/>
              <a:t>Module 03: Software Composition Analysis</a:t>
            </a:r>
          </a:p>
        </p:txBody>
      </p:sp>
      <p:cxnSp>
        <p:nvCxnSpPr>
          <p:cNvPr id="16" name="Straight Connector 15">
            <a:extLst>
              <a:ext uri="{FF2B5EF4-FFF2-40B4-BE49-F238E27FC236}">
                <a16:creationId xmlns:a16="http://schemas.microsoft.com/office/drawing/2014/main" id="{2A79AE2A-E2C5-43EA-BF9B-8790E50893C9}"/>
              </a:ext>
              <a:ext uri="{C183D7F6-B498-43B3-948B-1728B52AA6E4}">
                <adec:decorative xmlns:adec="http://schemas.microsoft.com/office/drawing/2017/decorative" val="1"/>
              </a:ext>
            </a:extLst>
          </p:cNvPr>
          <p:cNvCxnSpPr>
            <a:cxnSpLocks/>
          </p:cNvCxnSpPr>
          <p:nvPr/>
        </p:nvCxnSpPr>
        <p:spPr>
          <a:xfrm>
            <a:off x="1509714" y="4534479"/>
            <a:ext cx="397490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0" name="Picture 19" descr="Icon of a gear and a arrow going across it">
            <a:extLst>
              <a:ext uri="{FF2B5EF4-FFF2-40B4-BE49-F238E27FC236}">
                <a16:creationId xmlns:a16="http://schemas.microsoft.com/office/drawing/2014/main" id="{FD8BFBFF-D84E-41B7-9E97-CC0B6F13048B}"/>
              </a:ext>
            </a:extLst>
          </p:cNvPr>
          <p:cNvPicPr>
            <a:picLocks noChangeAspect="1"/>
          </p:cNvPicPr>
          <p:nvPr/>
        </p:nvPicPr>
        <p:blipFill>
          <a:blip r:embed="rId5"/>
          <a:stretch>
            <a:fillRect/>
          </a:stretch>
        </p:blipFill>
        <p:spPr>
          <a:xfrm>
            <a:off x="450646" y="4746413"/>
            <a:ext cx="836676" cy="836676"/>
          </a:xfrm>
          <a:prstGeom prst="rect">
            <a:avLst/>
          </a:prstGeom>
        </p:spPr>
      </p:pic>
      <p:sp>
        <p:nvSpPr>
          <p:cNvPr id="24" name="TextBox 23">
            <a:extLst>
              <a:ext uri="{FF2B5EF4-FFF2-40B4-BE49-F238E27FC236}">
                <a16:creationId xmlns:a16="http://schemas.microsoft.com/office/drawing/2014/main" id="{51D9360F-5C84-4421-B5F5-986F5884ACCE}"/>
              </a:ext>
            </a:extLst>
          </p:cNvPr>
          <p:cNvSpPr txBox="1"/>
          <p:nvPr/>
        </p:nvSpPr>
        <p:spPr>
          <a:xfrm>
            <a:off x="1509714" y="5009332"/>
            <a:ext cx="3974905" cy="307777"/>
          </a:xfrm>
          <a:prstGeom prst="rect">
            <a:avLst/>
          </a:prstGeom>
          <a:noFill/>
        </p:spPr>
        <p:txBody>
          <a:bodyPr wrap="square" lIns="0" tIns="0" rIns="0" bIns="0" rtlCol="0" anchor="ctr">
            <a:spAutoFit/>
          </a:bodyPr>
          <a:lstStyle/>
          <a:p>
            <a:pPr>
              <a:spcAft>
                <a:spcPts val="600"/>
              </a:spcAft>
            </a:pPr>
            <a:r>
              <a:rPr lang="en-US" sz="2000" dirty="0"/>
              <a:t>Module 04: Static analyzers</a:t>
            </a:r>
          </a:p>
        </p:txBody>
      </p:sp>
      <p:cxnSp>
        <p:nvCxnSpPr>
          <p:cNvPr id="42" name="Straight Connector 41">
            <a:extLst>
              <a:ext uri="{FF2B5EF4-FFF2-40B4-BE49-F238E27FC236}">
                <a16:creationId xmlns:a16="http://schemas.microsoft.com/office/drawing/2014/main" id="{B15C14FC-BFA4-405E-9B44-4E16D6D33CEB}"/>
              </a:ext>
              <a:ext uri="{C183D7F6-B498-43B3-948B-1728B52AA6E4}">
                <adec:decorative xmlns:adec="http://schemas.microsoft.com/office/drawing/2017/decorative" val="1"/>
              </a:ext>
            </a:extLst>
          </p:cNvPr>
          <p:cNvCxnSpPr>
            <a:cxnSpLocks/>
          </p:cNvCxnSpPr>
          <p:nvPr/>
        </p:nvCxnSpPr>
        <p:spPr>
          <a:xfrm>
            <a:off x="7085472" y="2373055"/>
            <a:ext cx="467821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50" name="Picture 49" descr="Icon of a lab flask">
            <a:extLst>
              <a:ext uri="{FF2B5EF4-FFF2-40B4-BE49-F238E27FC236}">
                <a16:creationId xmlns:a16="http://schemas.microsoft.com/office/drawing/2014/main" id="{20C042A6-9FA6-4B8F-B3EC-FE5BDDFE0355}"/>
              </a:ext>
            </a:extLst>
          </p:cNvPr>
          <p:cNvPicPr>
            <a:picLocks noChangeAspect="1"/>
          </p:cNvPicPr>
          <p:nvPr/>
        </p:nvPicPr>
        <p:blipFill>
          <a:blip r:embed="rId6"/>
          <a:stretch>
            <a:fillRect/>
          </a:stretch>
        </p:blipFill>
        <p:spPr>
          <a:xfrm>
            <a:off x="6024896" y="3628823"/>
            <a:ext cx="835152" cy="835152"/>
          </a:xfrm>
          <a:prstGeom prst="rect">
            <a:avLst/>
          </a:prstGeom>
        </p:spPr>
      </p:pic>
      <p:sp>
        <p:nvSpPr>
          <p:cNvPr id="58" name="TextBox 57">
            <a:extLst>
              <a:ext uri="{FF2B5EF4-FFF2-40B4-BE49-F238E27FC236}">
                <a16:creationId xmlns:a16="http://schemas.microsoft.com/office/drawing/2014/main" id="{F6D8E6AE-732E-411B-9C83-4D1C2A0A6F09}"/>
              </a:ext>
            </a:extLst>
          </p:cNvPr>
          <p:cNvSpPr txBox="1"/>
          <p:nvPr/>
        </p:nvSpPr>
        <p:spPr>
          <a:xfrm>
            <a:off x="7085472" y="3874501"/>
            <a:ext cx="4912853" cy="307777"/>
          </a:xfrm>
          <a:prstGeom prst="rect">
            <a:avLst/>
          </a:prstGeom>
          <a:noFill/>
        </p:spPr>
        <p:txBody>
          <a:bodyPr wrap="square" lIns="0" tIns="0" rIns="0" bIns="0" rtlCol="0" anchor="ctr">
            <a:spAutoFit/>
          </a:bodyPr>
          <a:lstStyle/>
          <a:p>
            <a:pPr>
              <a:spcAft>
                <a:spcPts val="600"/>
              </a:spcAft>
            </a:pPr>
            <a:r>
              <a:rPr lang="en-US" sz="2000" dirty="0"/>
              <a:t>Labs &amp; Learning Path review and takeaways</a:t>
            </a:r>
          </a:p>
        </p:txBody>
      </p:sp>
      <p:sp>
        <p:nvSpPr>
          <p:cNvPr id="60" name="TextBox 59">
            <a:extLst>
              <a:ext uri="{FF2B5EF4-FFF2-40B4-BE49-F238E27FC236}">
                <a16:creationId xmlns:a16="http://schemas.microsoft.com/office/drawing/2014/main" id="{C87D1C38-7742-4147-BF25-A6D25ADCBAD0}"/>
              </a:ext>
            </a:extLst>
          </p:cNvPr>
          <p:cNvSpPr txBox="1"/>
          <p:nvPr/>
        </p:nvSpPr>
        <p:spPr>
          <a:xfrm>
            <a:off x="7085473" y="1547205"/>
            <a:ext cx="4678214" cy="615553"/>
          </a:xfrm>
          <a:prstGeom prst="rect">
            <a:avLst/>
          </a:prstGeom>
          <a:noFill/>
        </p:spPr>
        <p:txBody>
          <a:bodyPr wrap="square" lIns="0" tIns="0" rIns="0" bIns="0" rtlCol="0" anchor="ctr">
            <a:spAutoFit/>
          </a:bodyPr>
          <a:lstStyle/>
          <a:p>
            <a:pPr>
              <a:spcAft>
                <a:spcPts val="600"/>
              </a:spcAft>
            </a:pPr>
            <a:r>
              <a:rPr lang="en-US" sz="2000" dirty="0"/>
              <a:t>Module 05: OWASP and Dynamic Analyzers</a:t>
            </a:r>
          </a:p>
        </p:txBody>
      </p:sp>
      <p:pic>
        <p:nvPicPr>
          <p:cNvPr id="62" name="Picture 61" descr="Icon of three gears with varying sizes">
            <a:extLst>
              <a:ext uri="{FF2B5EF4-FFF2-40B4-BE49-F238E27FC236}">
                <a16:creationId xmlns:a16="http://schemas.microsoft.com/office/drawing/2014/main" id="{52372D86-B7FF-4192-BB0D-AA4B864414B3}"/>
              </a:ext>
            </a:extLst>
          </p:cNvPr>
          <p:cNvPicPr>
            <a:picLocks noChangeAspect="1"/>
          </p:cNvPicPr>
          <p:nvPr/>
        </p:nvPicPr>
        <p:blipFill>
          <a:blip r:embed="rId7"/>
          <a:stretch>
            <a:fillRect/>
          </a:stretch>
        </p:blipFill>
        <p:spPr>
          <a:xfrm>
            <a:off x="6024896" y="1396205"/>
            <a:ext cx="829760" cy="832104"/>
          </a:xfrm>
          <a:prstGeom prst="rect">
            <a:avLst/>
          </a:prstGeom>
        </p:spPr>
      </p:pic>
      <p:cxnSp>
        <p:nvCxnSpPr>
          <p:cNvPr id="3" name="Straight Connector 2">
            <a:extLst>
              <a:ext uri="{FF2B5EF4-FFF2-40B4-BE49-F238E27FC236}">
                <a16:creationId xmlns:a16="http://schemas.microsoft.com/office/drawing/2014/main" id="{CE1CB092-C21D-4EF2-B3B8-0D4713312B80}"/>
              </a:ext>
              <a:ext uri="{C183D7F6-B498-43B3-948B-1728B52AA6E4}">
                <adec:decorative xmlns:adec="http://schemas.microsoft.com/office/drawing/2017/decorative" val="1"/>
              </a:ext>
            </a:extLst>
          </p:cNvPr>
          <p:cNvCxnSpPr>
            <a:cxnSpLocks/>
          </p:cNvCxnSpPr>
          <p:nvPr/>
        </p:nvCxnSpPr>
        <p:spPr>
          <a:xfrm>
            <a:off x="7085471" y="3452459"/>
            <a:ext cx="467821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7700285-C5D4-48FE-A50A-5BBB25DAE507}"/>
              </a:ext>
            </a:extLst>
          </p:cNvPr>
          <p:cNvSpPr txBox="1"/>
          <p:nvPr/>
        </p:nvSpPr>
        <p:spPr>
          <a:xfrm>
            <a:off x="7085472" y="2626609"/>
            <a:ext cx="4678214" cy="615553"/>
          </a:xfrm>
          <a:prstGeom prst="rect">
            <a:avLst/>
          </a:prstGeom>
          <a:noFill/>
        </p:spPr>
        <p:txBody>
          <a:bodyPr wrap="square" lIns="0" tIns="0" rIns="0" bIns="0" rtlCol="0" anchor="ctr">
            <a:spAutoFit/>
          </a:bodyPr>
          <a:lstStyle/>
          <a:p>
            <a:pPr>
              <a:spcAft>
                <a:spcPts val="600"/>
              </a:spcAft>
            </a:pPr>
            <a:r>
              <a:rPr lang="en-US" sz="2000" dirty="0"/>
              <a:t>Module 06: Security Monitoring and Governance</a:t>
            </a:r>
          </a:p>
        </p:txBody>
      </p:sp>
      <p:pic>
        <p:nvPicPr>
          <p:cNvPr id="5" name="Picture 4" descr="Icon of a matrix of nine circles connected to each other by lines">
            <a:extLst>
              <a:ext uri="{FF2B5EF4-FFF2-40B4-BE49-F238E27FC236}">
                <a16:creationId xmlns:a16="http://schemas.microsoft.com/office/drawing/2014/main" id="{90C2993B-A120-4FB1-9DB3-F383833CDE3D}"/>
              </a:ext>
            </a:extLst>
          </p:cNvPr>
          <p:cNvPicPr>
            <a:picLocks noChangeAspect="1"/>
          </p:cNvPicPr>
          <p:nvPr/>
        </p:nvPicPr>
        <p:blipFill>
          <a:blip r:embed="rId8"/>
          <a:stretch>
            <a:fillRect/>
          </a:stretch>
        </p:blipFill>
        <p:spPr>
          <a:xfrm>
            <a:off x="6024896" y="2512514"/>
            <a:ext cx="832104" cy="832104"/>
          </a:xfrm>
          <a:prstGeom prst="rect">
            <a:avLst/>
          </a:prstGeom>
        </p:spPr>
      </p:pic>
    </p:spTree>
    <p:extLst>
      <p:ext uri="{BB962C8B-B14F-4D97-AF65-F5344CB8AC3E}">
        <p14:creationId xmlns:p14="http://schemas.microsoft.com/office/powerpoint/2010/main" val="166375052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33F99A7-B017-4C7D-9CDC-CED627CEEC04}"/>
              </a:ext>
            </a:extLst>
          </p:cNvPr>
          <p:cNvSpPr>
            <a:spLocks noGrp="1"/>
          </p:cNvSpPr>
          <p:nvPr>
            <p:ph type="title"/>
          </p:nvPr>
        </p:nvSpPr>
        <p:spPr>
          <a:xfrm>
            <a:off x="465138" y="632779"/>
            <a:ext cx="11533187" cy="411162"/>
          </a:xfrm>
        </p:spPr>
        <p:txBody>
          <a:bodyPr/>
          <a:lstStyle/>
          <a:p>
            <a:r>
              <a:rPr lang="en-US" dirty="0"/>
              <a:t>Explore </a:t>
            </a:r>
            <a:r>
              <a:rPr lang="en-US" dirty="0" err="1"/>
              <a:t>SonarCloud</a:t>
            </a:r>
            <a:endParaRPr lang="en-US" dirty="0"/>
          </a:p>
        </p:txBody>
      </p:sp>
      <p:sp>
        <p:nvSpPr>
          <p:cNvPr id="3" name="Rectangle 2">
            <a:extLst>
              <a:ext uri="{FF2B5EF4-FFF2-40B4-BE49-F238E27FC236}">
                <a16:creationId xmlns:a16="http://schemas.microsoft.com/office/drawing/2014/main" id="{14F0B8BE-3547-47A8-B4E9-D2CAFFE4D806}"/>
              </a:ext>
            </a:extLst>
          </p:cNvPr>
          <p:cNvSpPr/>
          <p:nvPr/>
        </p:nvSpPr>
        <p:spPr bwMode="auto">
          <a:xfrm>
            <a:off x="465138" y="1294973"/>
            <a:ext cx="5538620" cy="1279785"/>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150000"/>
              </a:lnSpc>
              <a:spcBef>
                <a:spcPct val="0"/>
              </a:spcBef>
              <a:spcAft>
                <a:spcPct val="0"/>
              </a:spcAft>
              <a:buFont typeface="Arial" panose="020B0604020202020204" pitchFamily="34" charset="0"/>
              <a:buChar char="•"/>
            </a:pPr>
            <a:r>
              <a:rPr lang="en-US" sz="2000" dirty="0">
                <a:solidFill>
                  <a:schemeClr val="tx1"/>
                </a:solidFill>
                <a:latin typeface="+mj-lt"/>
                <a:cs typeface="Segoe UI" pitchFamily="34" charset="0"/>
              </a:rPr>
              <a:t>Open platform for managing code quality</a:t>
            </a:r>
          </a:p>
          <a:p>
            <a:pPr marL="342900" indent="-342900" defTabSz="932472" fontAlgn="base">
              <a:lnSpc>
                <a:spcPct val="150000"/>
              </a:lnSpc>
              <a:spcBef>
                <a:spcPct val="0"/>
              </a:spcBef>
              <a:spcAft>
                <a:spcPct val="0"/>
              </a:spcAft>
              <a:buFont typeface="Arial" panose="020B0604020202020204" pitchFamily="34" charset="0"/>
              <a:buChar char="•"/>
            </a:pPr>
            <a:r>
              <a:rPr lang="en-US" sz="2000" dirty="0">
                <a:solidFill>
                  <a:schemeClr val="tx1"/>
                </a:solidFill>
                <a:latin typeface="+mj-lt"/>
                <a:cs typeface="Segoe UI" pitchFamily="34" charset="0"/>
              </a:rPr>
              <a:t>Joint investments with Microsoft</a:t>
            </a:r>
          </a:p>
        </p:txBody>
      </p:sp>
      <p:pic>
        <p:nvPicPr>
          <p:cNvPr id="2" name="Picture 1" descr="Screenshot from the video. The SonarCloud Results page is shown with Bugs, Vulnerability, Code Smell, and Security Hotspot">
            <a:extLst>
              <a:ext uri="{FF2B5EF4-FFF2-40B4-BE49-F238E27FC236}">
                <a16:creationId xmlns:a16="http://schemas.microsoft.com/office/drawing/2014/main" id="{90890451-4AA0-B71C-9AFD-97AC6E6E1AF7}"/>
              </a:ext>
            </a:extLst>
          </p:cNvPr>
          <p:cNvPicPr>
            <a:picLocks noChangeAspect="1"/>
          </p:cNvPicPr>
          <p:nvPr/>
        </p:nvPicPr>
        <p:blipFill rotWithShape="1">
          <a:blip r:embed="rId2"/>
          <a:srcRect t="25621"/>
          <a:stretch/>
        </p:blipFill>
        <p:spPr>
          <a:xfrm>
            <a:off x="465138" y="2729536"/>
            <a:ext cx="11506197" cy="3848445"/>
          </a:xfrm>
          <a:prstGeom prst="rect">
            <a:avLst/>
          </a:prstGeom>
          <a:ln w="6350">
            <a:noFill/>
          </a:ln>
        </p:spPr>
      </p:pic>
      <p:sp>
        <p:nvSpPr>
          <p:cNvPr id="6" name="Rectangle 5">
            <a:extLst>
              <a:ext uri="{FF2B5EF4-FFF2-40B4-BE49-F238E27FC236}">
                <a16:creationId xmlns:a16="http://schemas.microsoft.com/office/drawing/2014/main" id="{63E57482-A508-3747-5C3D-494F0135EBCB}"/>
              </a:ext>
            </a:extLst>
          </p:cNvPr>
          <p:cNvSpPr/>
          <p:nvPr/>
        </p:nvSpPr>
        <p:spPr bwMode="auto">
          <a:xfrm>
            <a:off x="6432716" y="1294973"/>
            <a:ext cx="5538620" cy="1279785"/>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spcBef>
                <a:spcPct val="0"/>
              </a:spcBef>
              <a:spcAft>
                <a:spcPct val="0"/>
              </a:spcAft>
              <a:buFont typeface="Arial" panose="020B0604020202020204" pitchFamily="34" charset="0"/>
              <a:buChar char="•"/>
            </a:pPr>
            <a:r>
              <a:rPr lang="en-US" sz="2000" dirty="0">
                <a:solidFill>
                  <a:schemeClr val="tx1"/>
                </a:solidFill>
                <a:latin typeface="+mj-lt"/>
                <a:cs typeface="Segoe UI" pitchFamily="34" charset="0"/>
              </a:rPr>
              <a:t>Wide range of programming languages supported</a:t>
            </a:r>
          </a:p>
          <a:p>
            <a:pPr marL="342900" indent="-342900" defTabSz="932472" fontAlgn="base">
              <a:spcBef>
                <a:spcPct val="0"/>
              </a:spcBef>
              <a:spcAft>
                <a:spcPct val="0"/>
              </a:spcAft>
              <a:buFont typeface="Arial" panose="020B0604020202020204" pitchFamily="34" charset="0"/>
              <a:buChar char="•"/>
            </a:pPr>
            <a:r>
              <a:rPr lang="en-US" sz="2000" dirty="0">
                <a:solidFill>
                  <a:schemeClr val="tx1"/>
                </a:solidFill>
                <a:latin typeface="+mj-lt"/>
                <a:cs typeface="Segoe UI" pitchFamily="34" charset="0"/>
              </a:rPr>
              <a:t>Cloud-hosted version: </a:t>
            </a:r>
            <a:r>
              <a:rPr lang="en-US" sz="2000" dirty="0" err="1">
                <a:solidFill>
                  <a:schemeClr val="tx1"/>
                </a:solidFill>
                <a:latin typeface="+mj-lt"/>
                <a:cs typeface="Segoe UI" pitchFamily="34" charset="0"/>
              </a:rPr>
              <a:t>SonarCloud</a:t>
            </a:r>
            <a:endParaRPr lang="en-US" sz="2000" dirty="0">
              <a:solidFill>
                <a:schemeClr val="tx1"/>
              </a:solidFill>
              <a:latin typeface="+mj-lt"/>
              <a:cs typeface="Segoe UI" pitchFamily="34" charset="0"/>
            </a:endParaRPr>
          </a:p>
          <a:p>
            <a:pPr marL="342900" indent="-342900" defTabSz="932472" fontAlgn="base">
              <a:spcBef>
                <a:spcPct val="0"/>
              </a:spcBef>
              <a:spcAft>
                <a:spcPct val="0"/>
              </a:spcAft>
              <a:buFont typeface="Arial" panose="020B0604020202020204" pitchFamily="34" charset="0"/>
              <a:buChar char="•"/>
            </a:pPr>
            <a:endParaRPr lang="en-US" sz="2000" dirty="0">
              <a:solidFill>
                <a:schemeClr val="tx1"/>
              </a:solidFill>
              <a:latin typeface="+mj-lt"/>
              <a:cs typeface="Segoe UI" pitchFamily="34" charset="0"/>
            </a:endParaRPr>
          </a:p>
        </p:txBody>
      </p:sp>
    </p:spTree>
    <p:extLst>
      <p:ext uri="{BB962C8B-B14F-4D97-AF65-F5344CB8AC3E}">
        <p14:creationId xmlns:p14="http://schemas.microsoft.com/office/powerpoint/2010/main" val="26044886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33F99A7-B017-4C7D-9CDC-CED627CEEC04}"/>
              </a:ext>
            </a:extLst>
          </p:cNvPr>
          <p:cNvSpPr>
            <a:spLocks noGrp="1"/>
          </p:cNvSpPr>
          <p:nvPr>
            <p:ph type="title"/>
          </p:nvPr>
        </p:nvSpPr>
        <p:spPr>
          <a:xfrm>
            <a:off x="465138" y="632779"/>
            <a:ext cx="11533187" cy="411162"/>
          </a:xfrm>
        </p:spPr>
        <p:txBody>
          <a:bodyPr/>
          <a:lstStyle/>
          <a:p>
            <a:r>
              <a:rPr lang="en-US" dirty="0"/>
              <a:t>Explore </a:t>
            </a:r>
            <a:r>
              <a:rPr lang="en-US" dirty="0" err="1"/>
              <a:t>CodeQL</a:t>
            </a:r>
            <a:r>
              <a:rPr lang="en-US" dirty="0"/>
              <a:t> in GitHub</a:t>
            </a:r>
          </a:p>
        </p:txBody>
      </p:sp>
      <p:sp>
        <p:nvSpPr>
          <p:cNvPr id="11" name="Rectangle 10">
            <a:extLst>
              <a:ext uri="{FF2B5EF4-FFF2-40B4-BE49-F238E27FC236}">
                <a16:creationId xmlns:a16="http://schemas.microsoft.com/office/drawing/2014/main" id="{D955D862-1939-49E3-9019-4FFC8F89045C}"/>
              </a:ext>
            </a:extLst>
          </p:cNvPr>
          <p:cNvSpPr/>
          <p:nvPr/>
        </p:nvSpPr>
        <p:spPr bwMode="auto">
          <a:xfrm>
            <a:off x="465138" y="2201863"/>
            <a:ext cx="5663096" cy="222250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chemeClr val="tx1"/>
                </a:solidFill>
                <a:latin typeface="+mj-lt"/>
                <a:cs typeface="Segoe UI" pitchFamily="34" charset="0"/>
              </a:rPr>
              <a:t>Treats code like </a:t>
            </a:r>
            <a:r>
              <a:rPr lang="en-US" sz="2400" dirty="0" err="1">
                <a:solidFill>
                  <a:schemeClr val="tx1"/>
                </a:solidFill>
                <a:latin typeface="+mj-lt"/>
                <a:cs typeface="Segoe UI" pitchFamily="34" charset="0"/>
              </a:rPr>
              <a:t>queryable</a:t>
            </a:r>
            <a:r>
              <a:rPr lang="en-US" sz="2400" dirty="0">
                <a:solidFill>
                  <a:schemeClr val="tx1"/>
                </a:solidFill>
                <a:latin typeface="+mj-lt"/>
                <a:cs typeface="Segoe UI" pitchFamily="34" charset="0"/>
              </a:rPr>
              <a:t> data</a:t>
            </a:r>
          </a:p>
          <a:p>
            <a:pPr defTabSz="932472" fontAlgn="base">
              <a:spcBef>
                <a:spcPct val="0"/>
              </a:spcBef>
              <a:spcAft>
                <a:spcPct val="0"/>
              </a:spcAft>
            </a:pPr>
            <a:r>
              <a:rPr lang="en-US" sz="2400" dirty="0">
                <a:solidFill>
                  <a:schemeClr val="tx1"/>
                </a:solidFill>
                <a:latin typeface="+mj-lt"/>
                <a:cs typeface="Segoe UI" pitchFamily="34" charset="0"/>
              </a:rPr>
              <a:t>Standard or custom analysis queries</a:t>
            </a:r>
          </a:p>
        </p:txBody>
      </p:sp>
      <p:sp>
        <p:nvSpPr>
          <p:cNvPr id="3" name="Rectangle 2">
            <a:extLst>
              <a:ext uri="{FF2B5EF4-FFF2-40B4-BE49-F238E27FC236}">
                <a16:creationId xmlns:a16="http://schemas.microsoft.com/office/drawing/2014/main" id="{14F0B8BE-3547-47A8-B4E9-D2CAFFE4D806}"/>
              </a:ext>
            </a:extLst>
          </p:cNvPr>
          <p:cNvSpPr/>
          <p:nvPr/>
        </p:nvSpPr>
        <p:spPr bwMode="auto">
          <a:xfrm>
            <a:off x="6351104" y="2201863"/>
            <a:ext cx="5663096" cy="222250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AU" sz="2400" dirty="0">
                <a:solidFill>
                  <a:schemeClr val="tx1"/>
                </a:solidFill>
                <a:latin typeface="+mj-lt"/>
                <a:cs typeface="Segoe UI" pitchFamily="34" charset="0"/>
              </a:rPr>
              <a:t>Create a </a:t>
            </a:r>
            <a:r>
              <a:rPr lang="en-AU" sz="2400" dirty="0" err="1">
                <a:solidFill>
                  <a:schemeClr val="tx1"/>
                </a:solidFill>
                <a:latin typeface="+mj-lt"/>
                <a:cs typeface="Segoe UI" pitchFamily="34" charset="0"/>
              </a:rPr>
              <a:t>CodeQL</a:t>
            </a:r>
            <a:r>
              <a:rPr lang="en-AU" sz="2400" dirty="0">
                <a:solidFill>
                  <a:schemeClr val="tx1"/>
                </a:solidFill>
                <a:latin typeface="+mj-lt"/>
                <a:cs typeface="Segoe UI" pitchFamily="34" charset="0"/>
              </a:rPr>
              <a:t> database (based upon the code)</a:t>
            </a:r>
          </a:p>
          <a:p>
            <a:pPr defTabSz="932472" fontAlgn="base">
              <a:spcBef>
                <a:spcPct val="0"/>
              </a:spcBef>
              <a:spcAft>
                <a:spcPct val="0"/>
              </a:spcAft>
            </a:pPr>
            <a:r>
              <a:rPr lang="en-AU" sz="2400" dirty="0">
                <a:solidFill>
                  <a:schemeClr val="tx1"/>
                </a:solidFill>
                <a:latin typeface="+mj-lt"/>
                <a:cs typeface="Segoe UI" pitchFamily="34" charset="0"/>
              </a:rPr>
              <a:t>Run </a:t>
            </a:r>
            <a:r>
              <a:rPr lang="en-AU" sz="2400" dirty="0" err="1">
                <a:solidFill>
                  <a:schemeClr val="tx1"/>
                </a:solidFill>
                <a:latin typeface="+mj-lt"/>
                <a:cs typeface="Segoe UI" pitchFamily="34" charset="0"/>
              </a:rPr>
              <a:t>CodeQL</a:t>
            </a:r>
            <a:r>
              <a:rPr lang="en-AU" sz="2400" dirty="0">
                <a:solidFill>
                  <a:schemeClr val="tx1"/>
                </a:solidFill>
                <a:latin typeface="+mj-lt"/>
                <a:cs typeface="Segoe UI" pitchFamily="34" charset="0"/>
              </a:rPr>
              <a:t> queries against the database</a:t>
            </a:r>
          </a:p>
          <a:p>
            <a:pPr defTabSz="932472" fontAlgn="base">
              <a:spcBef>
                <a:spcPct val="0"/>
              </a:spcBef>
              <a:spcAft>
                <a:spcPct val="0"/>
              </a:spcAft>
            </a:pPr>
            <a:r>
              <a:rPr lang="en-AU" sz="2400" dirty="0">
                <a:solidFill>
                  <a:schemeClr val="tx1"/>
                </a:solidFill>
                <a:latin typeface="+mj-lt"/>
                <a:cs typeface="Segoe UI" pitchFamily="34" charset="0"/>
              </a:rPr>
              <a:t>Interpret the results</a:t>
            </a:r>
            <a:endParaRPr lang="en-US" sz="2400" dirty="0">
              <a:solidFill>
                <a:schemeClr val="tx1"/>
              </a:solidFill>
              <a:latin typeface="+mj-lt"/>
              <a:cs typeface="Segoe UI" pitchFamily="34" charset="0"/>
            </a:endParaRPr>
          </a:p>
        </p:txBody>
      </p:sp>
      <p:sp>
        <p:nvSpPr>
          <p:cNvPr id="5" name="Title 6">
            <a:extLst>
              <a:ext uri="{FF2B5EF4-FFF2-40B4-BE49-F238E27FC236}">
                <a16:creationId xmlns:a16="http://schemas.microsoft.com/office/drawing/2014/main" id="{869D5F5C-4F06-4BF6-A386-AF082732AA14}"/>
              </a:ext>
            </a:extLst>
          </p:cNvPr>
          <p:cNvSpPr txBox="1">
            <a:spLocks/>
          </p:cNvSpPr>
          <p:nvPr/>
        </p:nvSpPr>
        <p:spPr>
          <a:xfrm>
            <a:off x="6351104" y="1641057"/>
            <a:ext cx="1633396" cy="36933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a:lnSpc>
                <a:spcPct val="100000"/>
              </a:lnSpc>
            </a:pPr>
            <a:r>
              <a:rPr lang="en-AU" sz="2400" spc="0" dirty="0">
                <a:solidFill>
                  <a:schemeClr val="tx1"/>
                </a:solidFill>
              </a:rPr>
              <a:t>Steps:</a:t>
            </a:r>
          </a:p>
        </p:txBody>
      </p:sp>
      <p:sp>
        <p:nvSpPr>
          <p:cNvPr id="6" name="Title 6">
            <a:extLst>
              <a:ext uri="{FF2B5EF4-FFF2-40B4-BE49-F238E27FC236}">
                <a16:creationId xmlns:a16="http://schemas.microsoft.com/office/drawing/2014/main" id="{3ED617D9-1297-4DF4-BD1A-75D569B2475D}"/>
              </a:ext>
            </a:extLst>
          </p:cNvPr>
          <p:cNvSpPr txBox="1">
            <a:spLocks/>
          </p:cNvSpPr>
          <p:nvPr/>
        </p:nvSpPr>
        <p:spPr>
          <a:xfrm>
            <a:off x="465138" y="1641057"/>
            <a:ext cx="1633396" cy="36933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a:lnSpc>
                <a:spcPct val="100000"/>
              </a:lnSpc>
            </a:pPr>
            <a:r>
              <a:rPr lang="en-AU" sz="2400" spc="0" dirty="0">
                <a:solidFill>
                  <a:schemeClr val="tx1"/>
                </a:solidFill>
              </a:rPr>
              <a:t>Action:</a:t>
            </a:r>
          </a:p>
        </p:txBody>
      </p:sp>
      <p:sp>
        <p:nvSpPr>
          <p:cNvPr id="8" name="Title 6">
            <a:extLst>
              <a:ext uri="{FF2B5EF4-FFF2-40B4-BE49-F238E27FC236}">
                <a16:creationId xmlns:a16="http://schemas.microsoft.com/office/drawing/2014/main" id="{E3DE4821-C2C4-4750-9CC4-C9C7D7E8D9C9}"/>
              </a:ext>
            </a:extLst>
          </p:cNvPr>
          <p:cNvSpPr txBox="1">
            <a:spLocks/>
          </p:cNvSpPr>
          <p:nvPr/>
        </p:nvSpPr>
        <p:spPr>
          <a:xfrm>
            <a:off x="465138" y="5193228"/>
            <a:ext cx="11533186" cy="369332"/>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strike="noStrike" kern="1200" cap="none" spc="-50" baseline="0">
                <a:ln w="3175">
                  <a:noFill/>
                </a:ln>
                <a:solidFill>
                  <a:srgbClr val="000000"/>
                </a:solidFill>
                <a:effectLst/>
                <a:latin typeface="+mj-lt"/>
                <a:ea typeface="+mn-ea"/>
                <a:cs typeface="Segoe UI" pitchFamily="34" charset="0"/>
              </a:defRPr>
            </a:lvl1pPr>
          </a:lstStyle>
          <a:p>
            <a:pPr>
              <a:lnSpc>
                <a:spcPct val="100000"/>
              </a:lnSpc>
            </a:pPr>
            <a:r>
              <a:rPr lang="en-AU" sz="2400" spc="0" dirty="0" err="1">
                <a:solidFill>
                  <a:schemeClr val="tx1"/>
                </a:solidFill>
              </a:rPr>
              <a:t>CodeQL</a:t>
            </a:r>
            <a:r>
              <a:rPr lang="en-AU" sz="2400" spc="0" dirty="0">
                <a:solidFill>
                  <a:schemeClr val="tx1"/>
                </a:solidFill>
              </a:rPr>
              <a:t> CLI or </a:t>
            </a:r>
            <a:r>
              <a:rPr lang="en-AU" sz="2400" spc="0" dirty="0" err="1">
                <a:solidFill>
                  <a:schemeClr val="tx1"/>
                </a:solidFill>
              </a:rPr>
              <a:t>CodeQL</a:t>
            </a:r>
            <a:r>
              <a:rPr lang="en-AU" sz="2400" spc="0" dirty="0">
                <a:solidFill>
                  <a:schemeClr val="tx1"/>
                </a:solidFill>
              </a:rPr>
              <a:t> for Visual Studio Code</a:t>
            </a:r>
          </a:p>
        </p:txBody>
      </p:sp>
    </p:spTree>
    <p:extLst>
      <p:ext uri="{BB962C8B-B14F-4D97-AF65-F5344CB8AC3E}">
        <p14:creationId xmlns:p14="http://schemas.microsoft.com/office/powerpoint/2010/main" val="182602219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Module 05: OWASP and Dynamic Analyzers</a:t>
            </a:r>
          </a:p>
        </p:txBody>
      </p:sp>
      <p:pic>
        <p:nvPicPr>
          <p:cNvPr id="2" name="Picture 1" descr="Icon of a screen with filled chart ">
            <a:extLst>
              <a:ext uri="{FF2B5EF4-FFF2-40B4-BE49-F238E27FC236}">
                <a16:creationId xmlns:a16="http://schemas.microsoft.com/office/drawing/2014/main" id="{4263B726-472C-4008-92A6-190C1C58CA70}"/>
              </a:ext>
            </a:extLst>
          </p:cNvPr>
          <p:cNvPicPr>
            <a:picLocks noChangeAspect="1"/>
          </p:cNvPicPr>
          <p:nvPr/>
        </p:nvPicPr>
        <p:blipFill>
          <a:blip r:embed="rId3"/>
          <a:stretch>
            <a:fillRect/>
          </a:stretch>
        </p:blipFill>
        <p:spPr>
          <a:xfrm>
            <a:off x="10398259" y="3021011"/>
            <a:ext cx="952500" cy="952500"/>
          </a:xfrm>
          <a:prstGeom prst="rect">
            <a:avLst/>
          </a:prstGeom>
        </p:spPr>
      </p:pic>
    </p:spTree>
    <p:extLst>
      <p:ext uri="{BB962C8B-B14F-4D97-AF65-F5344CB8AC3E}">
        <p14:creationId xmlns:p14="http://schemas.microsoft.com/office/powerpoint/2010/main" val="383608628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336D2-3D87-49E3-BFB0-955854AE6DF8}"/>
              </a:ext>
            </a:extLst>
          </p:cNvPr>
          <p:cNvSpPr>
            <a:spLocks noGrp="1"/>
          </p:cNvSpPr>
          <p:nvPr>
            <p:ph type="title"/>
          </p:nvPr>
        </p:nvSpPr>
        <p:spPr>
          <a:xfrm>
            <a:off x="465138" y="632779"/>
            <a:ext cx="11533187" cy="411162"/>
          </a:xfrm>
        </p:spPr>
        <p:txBody>
          <a:bodyPr/>
          <a:lstStyle/>
          <a:p>
            <a:r>
              <a:rPr lang="en-US" dirty="0"/>
              <a:t>Plan to Implement OWASP Secure Coding Practices</a:t>
            </a:r>
          </a:p>
        </p:txBody>
      </p:sp>
      <p:pic>
        <p:nvPicPr>
          <p:cNvPr id="51" name="Picture 50" descr="Icon of an organizational chart enclosed in a curly brackets">
            <a:extLst>
              <a:ext uri="{FF2B5EF4-FFF2-40B4-BE49-F238E27FC236}">
                <a16:creationId xmlns:a16="http://schemas.microsoft.com/office/drawing/2014/main" id="{32352FEA-AB8B-4522-8657-84D59F5C0C6A}"/>
              </a:ext>
            </a:extLst>
          </p:cNvPr>
          <p:cNvPicPr>
            <a:picLocks noChangeAspect="1"/>
          </p:cNvPicPr>
          <p:nvPr/>
        </p:nvPicPr>
        <p:blipFill>
          <a:blip r:embed="rId3"/>
          <a:srcRect l="1221" t="1152" r="1221" b="1152"/>
          <a:stretch>
            <a:fillRect/>
          </a:stretch>
        </p:blipFill>
        <p:spPr>
          <a:xfrm>
            <a:off x="450624" y="1438110"/>
            <a:ext cx="1054134" cy="1054134"/>
          </a:xfrm>
          <a:custGeom>
            <a:avLst/>
            <a:gdLst>
              <a:gd name="connsiteX0" fmla="*/ 527067 w 1054134"/>
              <a:gd name="connsiteY0" fmla="*/ 0 h 1054134"/>
              <a:gd name="connsiteX1" fmla="*/ 1054134 w 1054134"/>
              <a:gd name="connsiteY1" fmla="*/ 527067 h 1054134"/>
              <a:gd name="connsiteX2" fmla="*/ 527067 w 1054134"/>
              <a:gd name="connsiteY2" fmla="*/ 1054134 h 1054134"/>
              <a:gd name="connsiteX3" fmla="*/ 0 w 1054134"/>
              <a:gd name="connsiteY3" fmla="*/ 527067 h 1054134"/>
              <a:gd name="connsiteX4" fmla="*/ 527067 w 1054134"/>
              <a:gd name="connsiteY4" fmla="*/ 0 h 1054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134" h="1054134">
                <a:moveTo>
                  <a:pt x="527067" y="0"/>
                </a:moveTo>
                <a:cubicBezTo>
                  <a:pt x="818158" y="0"/>
                  <a:pt x="1054134" y="235976"/>
                  <a:pt x="1054134" y="527067"/>
                </a:cubicBezTo>
                <a:cubicBezTo>
                  <a:pt x="1054134" y="818158"/>
                  <a:pt x="818158" y="1054134"/>
                  <a:pt x="527067" y="1054134"/>
                </a:cubicBezTo>
                <a:cubicBezTo>
                  <a:pt x="235976" y="1054134"/>
                  <a:pt x="0" y="818158"/>
                  <a:pt x="0" y="527067"/>
                </a:cubicBezTo>
                <a:cubicBezTo>
                  <a:pt x="0" y="235976"/>
                  <a:pt x="235976" y="0"/>
                  <a:pt x="527067" y="0"/>
                </a:cubicBezTo>
                <a:close/>
              </a:path>
            </a:pathLst>
          </a:custGeom>
        </p:spPr>
      </p:pic>
      <p:sp>
        <p:nvSpPr>
          <p:cNvPr id="9" name="Rectangle 8">
            <a:extLst>
              <a:ext uri="{FF2B5EF4-FFF2-40B4-BE49-F238E27FC236}">
                <a16:creationId xmlns:a16="http://schemas.microsoft.com/office/drawing/2014/main" id="{58806C25-781B-4AB2-B582-1CFD9D03AA0B}"/>
              </a:ext>
            </a:extLst>
          </p:cNvPr>
          <p:cNvSpPr/>
          <p:nvPr/>
        </p:nvSpPr>
        <p:spPr>
          <a:xfrm>
            <a:off x="1850044" y="1541134"/>
            <a:ext cx="10170124" cy="8480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400" dirty="0">
                <a:solidFill>
                  <a:schemeClr val="tx1"/>
                </a:solidFill>
              </a:rPr>
              <a:t>Start with secure coding practices</a:t>
            </a:r>
          </a:p>
        </p:txBody>
      </p:sp>
      <p:cxnSp>
        <p:nvCxnSpPr>
          <p:cNvPr id="4" name="Straight Connector 3">
            <a:extLst>
              <a:ext uri="{FF2B5EF4-FFF2-40B4-BE49-F238E27FC236}">
                <a16:creationId xmlns:a16="http://schemas.microsoft.com/office/drawing/2014/main" id="{ACEA902D-D1A4-4B1E-BD85-9039EF08D32D}"/>
              </a:ext>
              <a:ext uri="{C183D7F6-B498-43B3-948B-1728B52AA6E4}">
                <adec:decorative xmlns:adec="http://schemas.microsoft.com/office/drawing/2017/decorative" val="1"/>
              </a:ext>
            </a:extLst>
          </p:cNvPr>
          <p:cNvCxnSpPr>
            <a:cxnSpLocks/>
          </p:cNvCxnSpPr>
          <p:nvPr/>
        </p:nvCxnSpPr>
        <p:spPr>
          <a:xfrm flipV="1">
            <a:off x="1850044" y="2758303"/>
            <a:ext cx="1009865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54" name="Picture 53" descr="Icon of a lock pad with a cloud at the centre">
            <a:extLst>
              <a:ext uri="{FF2B5EF4-FFF2-40B4-BE49-F238E27FC236}">
                <a16:creationId xmlns:a16="http://schemas.microsoft.com/office/drawing/2014/main" id="{F5188356-E871-4411-A357-FD07311A5ABA}"/>
              </a:ext>
            </a:extLst>
          </p:cNvPr>
          <p:cNvPicPr>
            <a:picLocks noChangeAspect="1"/>
          </p:cNvPicPr>
          <p:nvPr/>
        </p:nvPicPr>
        <p:blipFill>
          <a:blip r:embed="rId4"/>
          <a:srcRect l="1221" t="1221" r="1221" b="1221"/>
          <a:stretch>
            <a:fillRect/>
          </a:stretch>
        </p:blipFill>
        <p:spPr>
          <a:xfrm>
            <a:off x="450624" y="3024362"/>
            <a:ext cx="1054134" cy="1054134"/>
          </a:xfrm>
          <a:custGeom>
            <a:avLst/>
            <a:gdLst>
              <a:gd name="connsiteX0" fmla="*/ 527067 w 1054134"/>
              <a:gd name="connsiteY0" fmla="*/ 0 h 1054134"/>
              <a:gd name="connsiteX1" fmla="*/ 1054134 w 1054134"/>
              <a:gd name="connsiteY1" fmla="*/ 527067 h 1054134"/>
              <a:gd name="connsiteX2" fmla="*/ 527067 w 1054134"/>
              <a:gd name="connsiteY2" fmla="*/ 1054134 h 1054134"/>
              <a:gd name="connsiteX3" fmla="*/ 0 w 1054134"/>
              <a:gd name="connsiteY3" fmla="*/ 527067 h 1054134"/>
              <a:gd name="connsiteX4" fmla="*/ 527067 w 1054134"/>
              <a:gd name="connsiteY4" fmla="*/ 0 h 1054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134" h="1054134">
                <a:moveTo>
                  <a:pt x="527067" y="0"/>
                </a:moveTo>
                <a:cubicBezTo>
                  <a:pt x="818158" y="0"/>
                  <a:pt x="1054134" y="235976"/>
                  <a:pt x="1054134" y="527067"/>
                </a:cubicBezTo>
                <a:cubicBezTo>
                  <a:pt x="1054134" y="818158"/>
                  <a:pt x="818158" y="1054134"/>
                  <a:pt x="527067" y="1054134"/>
                </a:cubicBezTo>
                <a:cubicBezTo>
                  <a:pt x="235976" y="1054134"/>
                  <a:pt x="0" y="818158"/>
                  <a:pt x="0" y="527067"/>
                </a:cubicBezTo>
                <a:cubicBezTo>
                  <a:pt x="0" y="235976"/>
                  <a:pt x="235976" y="0"/>
                  <a:pt x="527067" y="0"/>
                </a:cubicBezTo>
                <a:close/>
              </a:path>
            </a:pathLst>
          </a:custGeom>
        </p:spPr>
      </p:pic>
      <p:sp>
        <p:nvSpPr>
          <p:cNvPr id="14" name="Rectangle 13">
            <a:extLst>
              <a:ext uri="{FF2B5EF4-FFF2-40B4-BE49-F238E27FC236}">
                <a16:creationId xmlns:a16="http://schemas.microsoft.com/office/drawing/2014/main" id="{A35DB36E-4583-48BB-97C5-AD4751D91EFA}"/>
              </a:ext>
            </a:extLst>
          </p:cNvPr>
          <p:cNvSpPr/>
          <p:nvPr/>
        </p:nvSpPr>
        <p:spPr>
          <a:xfrm>
            <a:off x="1850044" y="3127386"/>
            <a:ext cx="10170124" cy="8480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400" dirty="0">
                <a:solidFill>
                  <a:schemeClr val="tx2"/>
                </a:solidFill>
                <a:hlinkClick r:id="rId5">
                  <a:extLst>
                    <a:ext uri="{A12FA001-AC4F-418D-AE19-62706E023703}">
                      <ahyp:hlinkClr xmlns:ahyp="http://schemas.microsoft.com/office/drawing/2018/hyperlinkcolor" val="tx"/>
                    </a:ext>
                  </a:extLst>
                </a:hlinkClick>
              </a:rPr>
              <a:t>Open Web Application Security Project (OWASP)</a:t>
            </a:r>
            <a:r>
              <a:rPr lang="en-US" sz="2400" dirty="0">
                <a:solidFill>
                  <a:schemeClr val="tx2"/>
                </a:solidFill>
              </a:rPr>
              <a:t> </a:t>
            </a:r>
            <a:r>
              <a:rPr lang="en-US" sz="2400" dirty="0">
                <a:solidFill>
                  <a:schemeClr val="tx1"/>
                </a:solidFill>
              </a:rPr>
              <a:t>– A global charitable organization focused on improving the security of software</a:t>
            </a:r>
          </a:p>
        </p:txBody>
      </p:sp>
      <p:cxnSp>
        <p:nvCxnSpPr>
          <p:cNvPr id="15" name="Straight Connector 14">
            <a:extLst>
              <a:ext uri="{FF2B5EF4-FFF2-40B4-BE49-F238E27FC236}">
                <a16:creationId xmlns:a16="http://schemas.microsoft.com/office/drawing/2014/main" id="{E5551BE7-D0DB-40D3-8491-A18F0B366D8A}"/>
              </a:ext>
              <a:ext uri="{C183D7F6-B498-43B3-948B-1728B52AA6E4}">
                <adec:decorative xmlns:adec="http://schemas.microsoft.com/office/drawing/2017/decorative" val="1"/>
              </a:ext>
            </a:extLst>
          </p:cNvPr>
          <p:cNvCxnSpPr>
            <a:cxnSpLocks/>
          </p:cNvCxnSpPr>
          <p:nvPr/>
        </p:nvCxnSpPr>
        <p:spPr>
          <a:xfrm flipV="1">
            <a:off x="1850044" y="4344555"/>
            <a:ext cx="1009865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57" name="Picture 56" descr="Icon of a book with a bookmark">
            <a:extLst>
              <a:ext uri="{FF2B5EF4-FFF2-40B4-BE49-F238E27FC236}">
                <a16:creationId xmlns:a16="http://schemas.microsoft.com/office/drawing/2014/main" id="{954A74E6-27B4-4139-A569-A7405BCE3B9A}"/>
              </a:ext>
            </a:extLst>
          </p:cNvPr>
          <p:cNvPicPr>
            <a:picLocks noChangeAspect="1"/>
          </p:cNvPicPr>
          <p:nvPr/>
        </p:nvPicPr>
        <p:blipFill>
          <a:blip r:embed="rId6"/>
          <a:srcRect l="1221" t="1152" r="1221" b="1152"/>
          <a:stretch>
            <a:fillRect/>
          </a:stretch>
        </p:blipFill>
        <p:spPr>
          <a:xfrm>
            <a:off x="450624" y="4610614"/>
            <a:ext cx="1054134" cy="1054134"/>
          </a:xfrm>
          <a:custGeom>
            <a:avLst/>
            <a:gdLst>
              <a:gd name="connsiteX0" fmla="*/ 527067 w 1054134"/>
              <a:gd name="connsiteY0" fmla="*/ 0 h 1054134"/>
              <a:gd name="connsiteX1" fmla="*/ 1054134 w 1054134"/>
              <a:gd name="connsiteY1" fmla="*/ 527067 h 1054134"/>
              <a:gd name="connsiteX2" fmla="*/ 527067 w 1054134"/>
              <a:gd name="connsiteY2" fmla="*/ 1054134 h 1054134"/>
              <a:gd name="connsiteX3" fmla="*/ 0 w 1054134"/>
              <a:gd name="connsiteY3" fmla="*/ 527067 h 1054134"/>
              <a:gd name="connsiteX4" fmla="*/ 527067 w 1054134"/>
              <a:gd name="connsiteY4" fmla="*/ 0 h 1054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134" h="1054134">
                <a:moveTo>
                  <a:pt x="527067" y="0"/>
                </a:moveTo>
                <a:cubicBezTo>
                  <a:pt x="818158" y="0"/>
                  <a:pt x="1054134" y="235976"/>
                  <a:pt x="1054134" y="527067"/>
                </a:cubicBezTo>
                <a:cubicBezTo>
                  <a:pt x="1054134" y="818158"/>
                  <a:pt x="818158" y="1054134"/>
                  <a:pt x="527067" y="1054134"/>
                </a:cubicBezTo>
                <a:cubicBezTo>
                  <a:pt x="235976" y="1054134"/>
                  <a:pt x="0" y="818158"/>
                  <a:pt x="0" y="527067"/>
                </a:cubicBezTo>
                <a:cubicBezTo>
                  <a:pt x="0" y="235976"/>
                  <a:pt x="235976" y="0"/>
                  <a:pt x="527067" y="0"/>
                </a:cubicBezTo>
                <a:close/>
              </a:path>
            </a:pathLst>
          </a:custGeom>
        </p:spPr>
      </p:pic>
      <p:sp>
        <p:nvSpPr>
          <p:cNvPr id="20" name="Rectangle 19">
            <a:extLst>
              <a:ext uri="{FF2B5EF4-FFF2-40B4-BE49-F238E27FC236}">
                <a16:creationId xmlns:a16="http://schemas.microsoft.com/office/drawing/2014/main" id="{A74A5D68-0084-4A84-9355-901BFE6D8231}"/>
              </a:ext>
            </a:extLst>
          </p:cNvPr>
          <p:cNvSpPr/>
          <p:nvPr/>
        </p:nvSpPr>
        <p:spPr>
          <a:xfrm>
            <a:off x="1850044" y="4713638"/>
            <a:ext cx="10170124" cy="8480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400" dirty="0">
                <a:solidFill>
                  <a:schemeClr val="tx1"/>
                </a:solidFill>
              </a:rPr>
              <a:t>OWASP regularly publish a set of </a:t>
            </a:r>
            <a:r>
              <a:rPr lang="en-US" sz="2400" i="1" dirty="0">
                <a:solidFill>
                  <a:schemeClr val="tx1"/>
                </a:solidFill>
              </a:rPr>
              <a:t>Secure Coding Practices</a:t>
            </a:r>
          </a:p>
        </p:txBody>
      </p:sp>
    </p:spTree>
    <p:extLst>
      <p:ext uri="{BB962C8B-B14F-4D97-AF65-F5344CB8AC3E}">
        <p14:creationId xmlns:p14="http://schemas.microsoft.com/office/powerpoint/2010/main" val="151719374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E48C5-BFF6-4773-868E-BCA356B3A86F}"/>
              </a:ext>
            </a:extLst>
          </p:cNvPr>
          <p:cNvSpPr>
            <a:spLocks noGrp="1"/>
          </p:cNvSpPr>
          <p:nvPr>
            <p:ph type="title"/>
          </p:nvPr>
        </p:nvSpPr>
        <p:spPr>
          <a:xfrm>
            <a:off x="465138" y="632779"/>
            <a:ext cx="11533187" cy="411162"/>
          </a:xfrm>
        </p:spPr>
        <p:txBody>
          <a:bodyPr/>
          <a:lstStyle/>
          <a:p>
            <a:r>
              <a:rPr lang="en-US" dirty="0"/>
              <a:t>Explore OWASP ZAP penetration test</a:t>
            </a:r>
          </a:p>
        </p:txBody>
      </p:sp>
      <p:sp>
        <p:nvSpPr>
          <p:cNvPr id="42" name="Rectangle 41">
            <a:extLst>
              <a:ext uri="{FF2B5EF4-FFF2-40B4-BE49-F238E27FC236}">
                <a16:creationId xmlns:a16="http://schemas.microsoft.com/office/drawing/2014/main" id="{5C9A36C5-AD71-4EE4-B0A2-3007B4662A7A}"/>
              </a:ext>
            </a:extLst>
          </p:cNvPr>
          <p:cNvSpPr/>
          <p:nvPr/>
        </p:nvSpPr>
        <p:spPr>
          <a:xfrm>
            <a:off x="450850" y="1498050"/>
            <a:ext cx="4406900" cy="1123848"/>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37160" tIns="91440" rIns="137160" bIns="91440" numCol="1" spcCol="1270" anchor="ctr" anchorCtr="0">
            <a:noAutofit/>
          </a:bodyPr>
          <a:lstStyle/>
          <a:p>
            <a:r>
              <a:rPr lang="en-US" sz="2200" dirty="0">
                <a:solidFill>
                  <a:schemeClr val="tx1"/>
                </a:solidFill>
              </a:rPr>
              <a:t>OWASP ZAP can be used for penetration testing</a:t>
            </a:r>
          </a:p>
        </p:txBody>
      </p:sp>
      <p:sp>
        <p:nvSpPr>
          <p:cNvPr id="43" name="Rectangle 42">
            <a:extLst>
              <a:ext uri="{FF2B5EF4-FFF2-40B4-BE49-F238E27FC236}">
                <a16:creationId xmlns:a16="http://schemas.microsoft.com/office/drawing/2014/main" id="{240B1534-69D9-4957-A399-8B2E59AFDB5F}"/>
              </a:ext>
            </a:extLst>
          </p:cNvPr>
          <p:cNvSpPr/>
          <p:nvPr/>
        </p:nvSpPr>
        <p:spPr>
          <a:xfrm>
            <a:off x="450850" y="2805838"/>
            <a:ext cx="4406900" cy="1123848"/>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37160" tIns="91440" rIns="137160" bIns="91440" numCol="1" spcCol="1270" anchor="ctr" anchorCtr="0">
            <a:noAutofit/>
          </a:bodyPr>
          <a:lstStyle/>
          <a:p>
            <a:r>
              <a:rPr lang="en-US" sz="2200">
                <a:solidFill>
                  <a:schemeClr val="tx1"/>
                </a:solidFill>
              </a:rPr>
              <a:t>Testing can be active </a:t>
            </a:r>
            <a:br>
              <a:rPr lang="en-US" sz="2200">
                <a:solidFill>
                  <a:schemeClr val="tx1"/>
                </a:solidFill>
              </a:rPr>
            </a:br>
            <a:r>
              <a:rPr lang="en-US" sz="2200">
                <a:solidFill>
                  <a:schemeClr val="tx1"/>
                </a:solidFill>
              </a:rPr>
              <a:t>or passive</a:t>
            </a:r>
          </a:p>
        </p:txBody>
      </p:sp>
      <p:sp>
        <p:nvSpPr>
          <p:cNvPr id="44" name="Rectangle 43">
            <a:extLst>
              <a:ext uri="{FF2B5EF4-FFF2-40B4-BE49-F238E27FC236}">
                <a16:creationId xmlns:a16="http://schemas.microsoft.com/office/drawing/2014/main" id="{3C16135B-2DB4-4041-84AB-001E8198C718}"/>
              </a:ext>
            </a:extLst>
          </p:cNvPr>
          <p:cNvSpPr/>
          <p:nvPr/>
        </p:nvSpPr>
        <p:spPr>
          <a:xfrm>
            <a:off x="450850" y="4113626"/>
            <a:ext cx="4406900" cy="1123848"/>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37160" tIns="91440" rIns="137160" bIns="91440" numCol="1" spcCol="1270" anchor="ctr" anchorCtr="0">
            <a:noAutofit/>
          </a:bodyPr>
          <a:lstStyle/>
          <a:p>
            <a:r>
              <a:rPr lang="en-US" sz="2200">
                <a:solidFill>
                  <a:schemeClr val="tx1"/>
                </a:solidFill>
              </a:rPr>
              <a:t>Conduct a quick baseline scan to identify vulnerabilities </a:t>
            </a:r>
          </a:p>
        </p:txBody>
      </p:sp>
      <p:sp>
        <p:nvSpPr>
          <p:cNvPr id="45" name="Rectangle 44">
            <a:extLst>
              <a:ext uri="{FF2B5EF4-FFF2-40B4-BE49-F238E27FC236}">
                <a16:creationId xmlns:a16="http://schemas.microsoft.com/office/drawing/2014/main" id="{BACB522E-8BDD-4659-AA8C-DA95C85C0652}"/>
              </a:ext>
            </a:extLst>
          </p:cNvPr>
          <p:cNvSpPr/>
          <p:nvPr/>
        </p:nvSpPr>
        <p:spPr>
          <a:xfrm>
            <a:off x="450850" y="5421414"/>
            <a:ext cx="4406900" cy="1123848"/>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37160" tIns="91440" rIns="137160" bIns="91440" numCol="1" spcCol="1270" anchor="ctr" anchorCtr="0">
            <a:noAutofit/>
          </a:bodyPr>
          <a:lstStyle/>
          <a:p>
            <a:r>
              <a:rPr lang="en-US" sz="2200">
                <a:solidFill>
                  <a:schemeClr val="tx1"/>
                </a:solidFill>
              </a:rPr>
              <a:t>Conduct nightly more</a:t>
            </a:r>
            <a:br>
              <a:rPr lang="en-US" sz="2200">
                <a:solidFill>
                  <a:schemeClr val="tx1"/>
                </a:solidFill>
              </a:rPr>
            </a:br>
            <a:r>
              <a:rPr lang="en-US" sz="2200">
                <a:solidFill>
                  <a:schemeClr val="tx1"/>
                </a:solidFill>
              </a:rPr>
              <a:t> intensive scans</a:t>
            </a:r>
          </a:p>
        </p:txBody>
      </p:sp>
      <p:pic>
        <p:nvPicPr>
          <p:cNvPr id="15" name="Picture 14" descr="The application pipeline as a nightly OWASP Zap pipeline">
            <a:extLst>
              <a:ext uri="{FF2B5EF4-FFF2-40B4-BE49-F238E27FC236}">
                <a16:creationId xmlns:a16="http://schemas.microsoft.com/office/drawing/2014/main" id="{1B3275D6-BF12-4D8D-A9C9-D08A99E202CE}"/>
              </a:ext>
            </a:extLst>
          </p:cNvPr>
          <p:cNvPicPr>
            <a:picLocks noChangeAspect="1"/>
          </p:cNvPicPr>
          <p:nvPr/>
        </p:nvPicPr>
        <p:blipFill>
          <a:blip r:embed="rId2"/>
          <a:stretch>
            <a:fillRect/>
          </a:stretch>
        </p:blipFill>
        <p:spPr>
          <a:xfrm>
            <a:off x="4995433" y="1491240"/>
            <a:ext cx="7023201" cy="5054022"/>
          </a:xfrm>
          <a:prstGeom prst="rect">
            <a:avLst/>
          </a:prstGeom>
        </p:spPr>
      </p:pic>
    </p:spTree>
    <p:extLst>
      <p:ext uri="{BB962C8B-B14F-4D97-AF65-F5344CB8AC3E}">
        <p14:creationId xmlns:p14="http://schemas.microsoft.com/office/powerpoint/2010/main" val="106237843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EED6B-A4BB-4B5D-9688-FABB964B7D82}"/>
              </a:ext>
            </a:extLst>
          </p:cNvPr>
          <p:cNvSpPr>
            <a:spLocks noGrp="1"/>
          </p:cNvSpPr>
          <p:nvPr>
            <p:ph type="title"/>
          </p:nvPr>
        </p:nvSpPr>
        <p:spPr>
          <a:xfrm>
            <a:off x="465138" y="632779"/>
            <a:ext cx="11533187" cy="411162"/>
          </a:xfrm>
        </p:spPr>
        <p:txBody>
          <a:bodyPr/>
          <a:lstStyle/>
          <a:p>
            <a:r>
              <a:rPr lang="en-US" dirty="0"/>
              <a:t>Explore OWASP ZAP results and bugs</a:t>
            </a:r>
          </a:p>
        </p:txBody>
      </p:sp>
      <p:sp>
        <p:nvSpPr>
          <p:cNvPr id="5" name="Rectangle 4">
            <a:extLst>
              <a:ext uri="{FF2B5EF4-FFF2-40B4-BE49-F238E27FC236}">
                <a16:creationId xmlns:a16="http://schemas.microsoft.com/office/drawing/2014/main" id="{C43BF2CC-0463-4081-B784-BF588C7794B2}"/>
              </a:ext>
            </a:extLst>
          </p:cNvPr>
          <p:cNvSpPr/>
          <p:nvPr/>
        </p:nvSpPr>
        <p:spPr>
          <a:xfrm>
            <a:off x="427038" y="1346199"/>
            <a:ext cx="3611562" cy="2434956"/>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t" anchorCtr="0">
            <a:noAutofit/>
          </a:bodyPr>
          <a:lstStyle/>
          <a:p>
            <a:r>
              <a:rPr lang="en-US" sz="2400" dirty="0">
                <a:solidFill>
                  <a:schemeClr val="tx1"/>
                </a:solidFill>
              </a:rPr>
              <a:t>OWASP ZAP provides a report with results</a:t>
            </a:r>
          </a:p>
          <a:p>
            <a:r>
              <a:rPr lang="en-US" sz="2400" dirty="0">
                <a:solidFill>
                  <a:schemeClr val="tx1"/>
                </a:solidFill>
              </a:rPr>
              <a:t>and bugs</a:t>
            </a:r>
          </a:p>
        </p:txBody>
      </p:sp>
      <p:sp>
        <p:nvSpPr>
          <p:cNvPr id="6" name="Rectangle 5">
            <a:extLst>
              <a:ext uri="{FF2B5EF4-FFF2-40B4-BE49-F238E27FC236}">
                <a16:creationId xmlns:a16="http://schemas.microsoft.com/office/drawing/2014/main" id="{BC34C78C-F27B-4F82-9C91-29603929AABB}"/>
              </a:ext>
            </a:extLst>
          </p:cNvPr>
          <p:cNvSpPr/>
          <p:nvPr/>
        </p:nvSpPr>
        <p:spPr>
          <a:xfrm>
            <a:off x="427038" y="3908694"/>
            <a:ext cx="3611562" cy="2434956"/>
          </a:xfrm>
          <a:prstGeom prst="rect">
            <a:avLst/>
          </a:prstGeom>
          <a:solidFill>
            <a:schemeClr val="bg1">
              <a:lumMod val="95000"/>
            </a:schemeClr>
          </a:solidFill>
          <a:ln w="1905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82880" tIns="137160" rIns="182880" bIns="137160" numCol="1" spcCol="1270" anchor="t" anchorCtr="0">
            <a:noAutofit/>
          </a:bodyPr>
          <a:lstStyle/>
          <a:p>
            <a:r>
              <a:rPr lang="en-US" sz="2400" dirty="0">
                <a:solidFill>
                  <a:schemeClr val="tx1"/>
                </a:solidFill>
              </a:rPr>
              <a:t>Use a holistic and layered approach to security</a:t>
            </a:r>
          </a:p>
        </p:txBody>
      </p:sp>
      <p:pic>
        <p:nvPicPr>
          <p:cNvPr id="9" name="Picture 8" descr="Screenshot of OWASP surfaced vulnerabilities">
            <a:extLst>
              <a:ext uri="{FF2B5EF4-FFF2-40B4-BE49-F238E27FC236}">
                <a16:creationId xmlns:a16="http://schemas.microsoft.com/office/drawing/2014/main" id="{CAA727F2-FB05-4034-B570-07FA0B362F06}"/>
              </a:ext>
            </a:extLst>
          </p:cNvPr>
          <p:cNvPicPr>
            <a:picLocks noChangeAspect="1"/>
          </p:cNvPicPr>
          <p:nvPr/>
        </p:nvPicPr>
        <p:blipFill rotWithShape="1">
          <a:blip r:embed="rId2"/>
          <a:srcRect l="817" t="-2515" r="819" b="-2515"/>
          <a:stretch/>
        </p:blipFill>
        <p:spPr>
          <a:xfrm>
            <a:off x="4171950" y="1346198"/>
            <a:ext cx="7837487" cy="4988673"/>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152556227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BF933-5921-4DD7-9360-CD836AB6F9BC}"/>
              </a:ext>
            </a:extLst>
          </p:cNvPr>
          <p:cNvSpPr>
            <a:spLocks noGrp="1"/>
          </p:cNvSpPr>
          <p:nvPr>
            <p:ph type="title"/>
          </p:nvPr>
        </p:nvSpPr>
        <p:spPr>
          <a:xfrm>
            <a:off x="465138" y="632779"/>
            <a:ext cx="11533187" cy="411162"/>
          </a:xfrm>
        </p:spPr>
        <p:txBody>
          <a:bodyPr/>
          <a:lstStyle/>
          <a:p>
            <a:r>
              <a:rPr lang="en-US" dirty="0"/>
              <a:t>Discussion: Security policy tooling</a:t>
            </a:r>
          </a:p>
        </p:txBody>
      </p:sp>
      <p:sp>
        <p:nvSpPr>
          <p:cNvPr id="3" name="Oval 2">
            <a:extLst>
              <a:ext uri="{FF2B5EF4-FFF2-40B4-BE49-F238E27FC236}">
                <a16:creationId xmlns:a16="http://schemas.microsoft.com/office/drawing/2014/main" id="{12CD040F-A468-48BF-9D76-7ACA0CB1368B}"/>
              </a:ext>
              <a:ext uri="{C183D7F6-B498-43B3-948B-1728B52AA6E4}">
                <adec:decorative xmlns:adec="http://schemas.microsoft.com/office/drawing/2017/decorative" val="0"/>
              </a:ext>
            </a:extLst>
          </p:cNvPr>
          <p:cNvSpPr/>
          <p:nvPr/>
        </p:nvSpPr>
        <p:spPr bwMode="auto">
          <a:xfrm>
            <a:off x="2265589" y="2414234"/>
            <a:ext cx="3326880" cy="332688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dirty="0">
                <a:solidFill>
                  <a:schemeClr val="tx1"/>
                </a:solidFill>
                <a:latin typeface="+mj-lt"/>
                <a:cs typeface="Segoe UI Semilight" panose="020B0402040204020203" pitchFamily="34" charset="0"/>
              </a:rPr>
              <a:t>Which security policy tools do you currently use? </a:t>
            </a:r>
          </a:p>
        </p:txBody>
      </p:sp>
      <p:sp>
        <p:nvSpPr>
          <p:cNvPr id="5" name="Oval 4">
            <a:extLst>
              <a:ext uri="{FF2B5EF4-FFF2-40B4-BE49-F238E27FC236}">
                <a16:creationId xmlns:a16="http://schemas.microsoft.com/office/drawing/2014/main" id="{4DEEB079-4500-4597-8039-1090CB92FC33}"/>
              </a:ext>
              <a:ext uri="{C183D7F6-B498-43B3-948B-1728B52AA6E4}">
                <adec:decorative xmlns:adec="http://schemas.microsoft.com/office/drawing/2017/decorative" val="0"/>
              </a:ext>
            </a:extLst>
          </p:cNvPr>
          <p:cNvSpPr/>
          <p:nvPr/>
        </p:nvSpPr>
        <p:spPr bwMode="auto">
          <a:xfrm>
            <a:off x="6844007" y="2414234"/>
            <a:ext cx="3326880" cy="3326880"/>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dirty="0">
                <a:solidFill>
                  <a:schemeClr val="tx1"/>
                </a:solidFill>
                <a:latin typeface="+mj-lt"/>
                <a:cs typeface="Segoe UI Semilight" panose="020B0402040204020203" pitchFamily="34" charset="0"/>
              </a:rPr>
              <a:t>What do you</a:t>
            </a:r>
            <a:br>
              <a:rPr lang="en-US" sz="2200" dirty="0">
                <a:solidFill>
                  <a:schemeClr val="tx1"/>
                </a:solidFill>
                <a:latin typeface="+mj-lt"/>
                <a:cs typeface="Segoe UI Semilight" panose="020B0402040204020203" pitchFamily="34" charset="0"/>
              </a:rPr>
            </a:br>
            <a:r>
              <a:rPr lang="en-US" sz="2200" dirty="0">
                <a:solidFill>
                  <a:schemeClr val="tx1"/>
                </a:solidFill>
                <a:latin typeface="+mj-lt"/>
                <a:cs typeface="Segoe UI Semilight" panose="020B0402040204020203" pitchFamily="34" charset="0"/>
              </a:rPr>
              <a:t>like or don’t like about the tools?</a:t>
            </a:r>
          </a:p>
        </p:txBody>
      </p:sp>
      <p:sp>
        <p:nvSpPr>
          <p:cNvPr id="7" name="TextBox 6">
            <a:extLst>
              <a:ext uri="{FF2B5EF4-FFF2-40B4-BE49-F238E27FC236}">
                <a16:creationId xmlns:a16="http://schemas.microsoft.com/office/drawing/2014/main" id="{039A73BD-FFEC-469E-AB34-DF5A21C7BBB8}"/>
              </a:ext>
            </a:extLst>
          </p:cNvPr>
          <p:cNvSpPr txBox="1"/>
          <p:nvPr/>
        </p:nvSpPr>
        <p:spPr>
          <a:xfrm>
            <a:off x="418646" y="1392974"/>
            <a:ext cx="11599184" cy="738664"/>
          </a:xfrm>
          <a:prstGeom prst="rect">
            <a:avLst/>
          </a:prstGeom>
          <a:noFill/>
        </p:spPr>
        <p:txBody>
          <a:bodyPr wrap="square" lIns="0" tIns="0" rIns="0" bIns="0" rtlCol="0" anchor="ctr">
            <a:spAutoFit/>
          </a:bodyPr>
          <a:lstStyle/>
          <a:p>
            <a:pPr algn="ctr"/>
            <a:r>
              <a:rPr lang="en-US" sz="2400">
                <a:solidFill>
                  <a:schemeClr val="tx2"/>
                </a:solidFill>
                <a:latin typeface="+mj-lt"/>
              </a:rPr>
              <a:t>Azure DevOps can be integrated with a wide range of existing tooling </a:t>
            </a:r>
            <a:br>
              <a:rPr lang="en-US" sz="2400">
                <a:solidFill>
                  <a:schemeClr val="tx2"/>
                </a:solidFill>
                <a:latin typeface="+mj-lt"/>
              </a:rPr>
            </a:br>
            <a:r>
              <a:rPr lang="en-US" sz="2400">
                <a:solidFill>
                  <a:schemeClr val="tx2"/>
                </a:solidFill>
                <a:latin typeface="+mj-lt"/>
              </a:rPr>
              <a:t>that is used for checking security policy during builds</a:t>
            </a:r>
          </a:p>
        </p:txBody>
      </p:sp>
    </p:spTree>
    <p:extLst>
      <p:ext uri="{BB962C8B-B14F-4D97-AF65-F5344CB8AC3E}">
        <p14:creationId xmlns:p14="http://schemas.microsoft.com/office/powerpoint/2010/main" val="285535761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Module 06: Security Monitoring and Governance</a:t>
            </a:r>
          </a:p>
        </p:txBody>
      </p:sp>
      <p:pic>
        <p:nvPicPr>
          <p:cNvPr id="2" name="Picture 1" descr="Icon of a lock pad with a cloud at the centre">
            <a:extLst>
              <a:ext uri="{FF2B5EF4-FFF2-40B4-BE49-F238E27FC236}">
                <a16:creationId xmlns:a16="http://schemas.microsoft.com/office/drawing/2014/main" id="{3EA2D7AB-D7CC-40E9-B10C-B45AA126753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46834" y="2913584"/>
            <a:ext cx="1090422" cy="1090422"/>
          </a:xfrm>
          <a:prstGeom prst="rect">
            <a:avLst/>
          </a:prstGeom>
        </p:spPr>
      </p:pic>
    </p:spTree>
    <p:extLst>
      <p:ext uri="{BB962C8B-B14F-4D97-AF65-F5344CB8AC3E}">
        <p14:creationId xmlns:p14="http://schemas.microsoft.com/office/powerpoint/2010/main" val="286956358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86866-32A4-47BE-8B7F-BB1B8104CEF6}"/>
              </a:ext>
            </a:extLst>
          </p:cNvPr>
          <p:cNvSpPr>
            <a:spLocks noGrp="1"/>
          </p:cNvSpPr>
          <p:nvPr>
            <p:ph type="title"/>
          </p:nvPr>
        </p:nvSpPr>
        <p:spPr>
          <a:xfrm>
            <a:off x="427038" y="632779"/>
            <a:ext cx="11571287" cy="411162"/>
          </a:xfrm>
        </p:spPr>
        <p:txBody>
          <a:bodyPr/>
          <a:lstStyle/>
          <a:p>
            <a:r>
              <a:rPr lang="en-US" dirty="0"/>
              <a:t>Implement pipeline security</a:t>
            </a:r>
          </a:p>
        </p:txBody>
      </p:sp>
      <p:sp>
        <p:nvSpPr>
          <p:cNvPr id="29" name="Rectangle 28">
            <a:extLst>
              <a:ext uri="{FF2B5EF4-FFF2-40B4-BE49-F238E27FC236}">
                <a16:creationId xmlns:a16="http://schemas.microsoft.com/office/drawing/2014/main" id="{0F2216BB-D173-4212-AE6A-382AD1F5FFD2}"/>
              </a:ext>
            </a:extLst>
          </p:cNvPr>
          <p:cNvSpPr/>
          <p:nvPr/>
        </p:nvSpPr>
        <p:spPr>
          <a:xfrm>
            <a:off x="427038" y="1284976"/>
            <a:ext cx="11275970" cy="36036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r>
              <a:rPr lang="en-US" sz="2400" dirty="0">
                <a:solidFill>
                  <a:schemeClr val="tx1"/>
                </a:solidFill>
                <a:latin typeface="+mj-lt"/>
                <a:cs typeface="Segoe UI Semilight" panose="020B0402040204020203" pitchFamily="34" charset="0"/>
              </a:rPr>
              <a:t>Use traditional operational methods for protecting identities and assets</a:t>
            </a:r>
          </a:p>
        </p:txBody>
      </p:sp>
      <p:sp>
        <p:nvSpPr>
          <p:cNvPr id="12" name="TextBox 11">
            <a:extLst>
              <a:ext uri="{FF2B5EF4-FFF2-40B4-BE49-F238E27FC236}">
                <a16:creationId xmlns:a16="http://schemas.microsoft.com/office/drawing/2014/main" id="{47BF8898-9FD2-45C1-99D0-CFBBB378AE6F}"/>
              </a:ext>
            </a:extLst>
          </p:cNvPr>
          <p:cNvSpPr txBox="1"/>
          <p:nvPr/>
        </p:nvSpPr>
        <p:spPr>
          <a:xfrm>
            <a:off x="420914" y="2041166"/>
            <a:ext cx="7151461" cy="890078"/>
          </a:xfrm>
          <a:prstGeom prst="rect">
            <a:avLst/>
          </a:prstGeom>
          <a:solidFill>
            <a:schemeClr val="bg1">
              <a:lumMod val="95000"/>
            </a:schemeClr>
          </a:solidFill>
        </p:spPr>
        <p:txBody>
          <a:bodyPr wrap="square" lIns="182880" tIns="137160" rIns="182880" bIns="137160" rtlCol="0" anchor="ctr" anchorCtr="0">
            <a:noAutofit/>
          </a:bodyPr>
          <a:lstStyle/>
          <a:p>
            <a:pPr lvl="0" defTabSz="622300">
              <a:spcBef>
                <a:spcPct val="0"/>
              </a:spcBef>
            </a:pPr>
            <a:r>
              <a:rPr lang="en-US" sz="2000" dirty="0">
                <a:latin typeface="+mj-lt"/>
              </a:rPr>
              <a:t>Authentication and Authorization: </a:t>
            </a:r>
            <a:r>
              <a:rPr lang="en-US" sz="2000" dirty="0"/>
              <a:t>Use Multi-Factor Authentication and Just enough Admin (JEA)</a:t>
            </a:r>
            <a:endParaRPr lang="en-IN" sz="2000" dirty="0"/>
          </a:p>
        </p:txBody>
      </p:sp>
      <p:sp>
        <p:nvSpPr>
          <p:cNvPr id="13" name="TextBox 12">
            <a:extLst>
              <a:ext uri="{FF2B5EF4-FFF2-40B4-BE49-F238E27FC236}">
                <a16:creationId xmlns:a16="http://schemas.microsoft.com/office/drawing/2014/main" id="{69F6E19C-7234-42BB-AE1D-C3A9083FA659}"/>
              </a:ext>
            </a:extLst>
          </p:cNvPr>
          <p:cNvSpPr txBox="1"/>
          <p:nvPr/>
        </p:nvSpPr>
        <p:spPr>
          <a:xfrm>
            <a:off x="420914" y="3034048"/>
            <a:ext cx="7151461" cy="890078"/>
          </a:xfrm>
          <a:prstGeom prst="rect">
            <a:avLst/>
          </a:prstGeom>
          <a:solidFill>
            <a:schemeClr val="bg1">
              <a:lumMod val="95000"/>
            </a:schemeClr>
          </a:solidFill>
        </p:spPr>
        <p:txBody>
          <a:bodyPr wrap="square" lIns="182880" tIns="137160" rIns="182880" bIns="137160" rtlCol="0" anchor="ctr" anchorCtr="0">
            <a:noAutofit/>
          </a:bodyPr>
          <a:lstStyle/>
          <a:p>
            <a:pPr lvl="0" defTabSz="622300">
              <a:spcBef>
                <a:spcPct val="0"/>
              </a:spcBef>
            </a:pPr>
            <a:r>
              <a:rPr lang="en-US" sz="2000" dirty="0">
                <a:latin typeface="+mj-lt"/>
              </a:rPr>
              <a:t>Use the CI/CD release pipeline: </a:t>
            </a:r>
            <a:r>
              <a:rPr lang="en-US" sz="2000" dirty="0"/>
              <a:t>Use immutable infrastructure and only using your pipeline</a:t>
            </a:r>
            <a:endParaRPr lang="en-IN" sz="2000" dirty="0"/>
          </a:p>
        </p:txBody>
      </p:sp>
      <p:sp>
        <p:nvSpPr>
          <p:cNvPr id="17" name="TextBox 16">
            <a:extLst>
              <a:ext uri="{FF2B5EF4-FFF2-40B4-BE49-F238E27FC236}">
                <a16:creationId xmlns:a16="http://schemas.microsoft.com/office/drawing/2014/main" id="{88B5F330-6D07-4644-96D9-7E2DB77083F3}"/>
              </a:ext>
            </a:extLst>
          </p:cNvPr>
          <p:cNvSpPr txBox="1"/>
          <p:nvPr/>
        </p:nvSpPr>
        <p:spPr>
          <a:xfrm>
            <a:off x="420914" y="4026929"/>
            <a:ext cx="7151461" cy="890078"/>
          </a:xfrm>
          <a:prstGeom prst="rect">
            <a:avLst/>
          </a:prstGeom>
          <a:solidFill>
            <a:schemeClr val="bg1">
              <a:lumMod val="95000"/>
            </a:schemeClr>
          </a:solidFill>
        </p:spPr>
        <p:txBody>
          <a:bodyPr wrap="square" lIns="182880" tIns="137160" rIns="182880" bIns="137160" rtlCol="0" anchor="ctr" anchorCtr="0">
            <a:noAutofit/>
          </a:bodyPr>
          <a:lstStyle/>
          <a:p>
            <a:pPr lvl="0" defTabSz="622300">
              <a:spcBef>
                <a:spcPct val="0"/>
              </a:spcBef>
            </a:pPr>
            <a:r>
              <a:rPr lang="en-US" sz="2000" dirty="0">
                <a:latin typeface="+mj-lt"/>
              </a:rPr>
              <a:t>Manage Permissions: </a:t>
            </a:r>
            <a:r>
              <a:rPr lang="en-US" sz="2000" dirty="0"/>
              <a:t>Secure the pipeline using RBAC</a:t>
            </a:r>
            <a:endParaRPr lang="en-IN" sz="2000" dirty="0"/>
          </a:p>
        </p:txBody>
      </p:sp>
      <p:sp>
        <p:nvSpPr>
          <p:cNvPr id="21" name="TextBox 20">
            <a:extLst>
              <a:ext uri="{FF2B5EF4-FFF2-40B4-BE49-F238E27FC236}">
                <a16:creationId xmlns:a16="http://schemas.microsoft.com/office/drawing/2014/main" id="{5305A334-18DC-41CC-A0A1-C5722C724BD4}"/>
              </a:ext>
            </a:extLst>
          </p:cNvPr>
          <p:cNvSpPr txBox="1"/>
          <p:nvPr/>
        </p:nvSpPr>
        <p:spPr>
          <a:xfrm>
            <a:off x="420914" y="5019813"/>
            <a:ext cx="7151461" cy="890078"/>
          </a:xfrm>
          <a:prstGeom prst="rect">
            <a:avLst/>
          </a:prstGeom>
          <a:solidFill>
            <a:schemeClr val="bg1">
              <a:lumMod val="95000"/>
            </a:schemeClr>
          </a:solidFill>
        </p:spPr>
        <p:txBody>
          <a:bodyPr wrap="square" lIns="182880" tIns="137160" rIns="182880" bIns="137160" rtlCol="0" anchor="ctr" anchorCtr="0">
            <a:noAutofit/>
          </a:bodyPr>
          <a:lstStyle/>
          <a:p>
            <a:pPr lvl="0" defTabSz="844550">
              <a:spcBef>
                <a:spcPct val="0"/>
              </a:spcBef>
            </a:pPr>
            <a:r>
              <a:rPr lang="en-US" sz="2000" dirty="0">
                <a:latin typeface="+mj-lt"/>
              </a:rPr>
              <a:t>Dynamic Scanning: </a:t>
            </a:r>
            <a:r>
              <a:rPr lang="en-US" sz="2000" dirty="0"/>
              <a:t>Test running apps, such as penetration testing</a:t>
            </a:r>
            <a:endParaRPr lang="en-IN" sz="2000" dirty="0"/>
          </a:p>
        </p:txBody>
      </p:sp>
      <p:pic>
        <p:nvPicPr>
          <p:cNvPr id="4" name="Picture 3" descr="Representation of security between the cloud and on-premises workstation">
            <a:extLst>
              <a:ext uri="{FF2B5EF4-FFF2-40B4-BE49-F238E27FC236}">
                <a16:creationId xmlns:a16="http://schemas.microsoft.com/office/drawing/2014/main" id="{35E6E702-E01D-4A1E-B332-819F199594F9}"/>
              </a:ext>
            </a:extLst>
          </p:cNvPr>
          <p:cNvPicPr>
            <a:picLocks noChangeAspect="1"/>
          </p:cNvPicPr>
          <p:nvPr/>
        </p:nvPicPr>
        <p:blipFill rotWithShape="1">
          <a:blip r:embed="rId3"/>
          <a:srcRect l="1045" t="-5539" r="2284"/>
          <a:stretch/>
        </p:blipFill>
        <p:spPr>
          <a:xfrm>
            <a:off x="8277637" y="2047386"/>
            <a:ext cx="3425371" cy="3862505"/>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71877526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27038" y="632779"/>
            <a:ext cx="11571287" cy="411162"/>
          </a:xfrm>
        </p:spPr>
        <p:txBody>
          <a:bodyPr/>
          <a:lstStyle/>
          <a:p>
            <a:r>
              <a:rPr lang="en-US" dirty="0"/>
              <a:t>Explore Microsoft Defender for Cloud</a:t>
            </a:r>
          </a:p>
        </p:txBody>
      </p:sp>
      <p:sp>
        <p:nvSpPr>
          <p:cNvPr id="8" name="TextBox 7">
            <a:extLst>
              <a:ext uri="{FF2B5EF4-FFF2-40B4-BE49-F238E27FC236}">
                <a16:creationId xmlns:a16="http://schemas.microsoft.com/office/drawing/2014/main" id="{4A61B381-834C-4C6C-8ED3-D07BA7D2FD70}"/>
              </a:ext>
            </a:extLst>
          </p:cNvPr>
          <p:cNvSpPr txBox="1"/>
          <p:nvPr/>
        </p:nvSpPr>
        <p:spPr>
          <a:xfrm>
            <a:off x="444499" y="1621584"/>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Provide security recommendations</a:t>
            </a:r>
            <a:endParaRPr lang="en-IN" sz="2000" dirty="0"/>
          </a:p>
        </p:txBody>
      </p:sp>
      <p:sp>
        <p:nvSpPr>
          <p:cNvPr id="9" name="TextBox 8">
            <a:extLst>
              <a:ext uri="{FF2B5EF4-FFF2-40B4-BE49-F238E27FC236}">
                <a16:creationId xmlns:a16="http://schemas.microsoft.com/office/drawing/2014/main" id="{19DE7843-0E4A-485C-B2F4-D5EEF1C02277}"/>
              </a:ext>
            </a:extLst>
          </p:cNvPr>
          <p:cNvSpPr txBox="1"/>
          <p:nvPr/>
        </p:nvSpPr>
        <p:spPr>
          <a:xfrm>
            <a:off x="4382294" y="1621584"/>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Monitor security settings </a:t>
            </a:r>
            <a:endParaRPr lang="en-IN" sz="2000" dirty="0"/>
          </a:p>
        </p:txBody>
      </p:sp>
      <p:sp>
        <p:nvSpPr>
          <p:cNvPr id="12" name="TextBox 11">
            <a:extLst>
              <a:ext uri="{FF2B5EF4-FFF2-40B4-BE49-F238E27FC236}">
                <a16:creationId xmlns:a16="http://schemas.microsoft.com/office/drawing/2014/main" id="{D111B10F-CB52-4F03-BDC0-9DF7205E91A1}"/>
              </a:ext>
            </a:extLst>
          </p:cNvPr>
          <p:cNvSpPr txBox="1"/>
          <p:nvPr/>
        </p:nvSpPr>
        <p:spPr>
          <a:xfrm>
            <a:off x="444499" y="2718658"/>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Monitor all your services</a:t>
            </a:r>
            <a:endParaRPr lang="en-IN" sz="2000" dirty="0"/>
          </a:p>
        </p:txBody>
      </p:sp>
      <p:sp>
        <p:nvSpPr>
          <p:cNvPr id="15" name="TextBox 14">
            <a:extLst>
              <a:ext uri="{FF2B5EF4-FFF2-40B4-BE49-F238E27FC236}">
                <a16:creationId xmlns:a16="http://schemas.microsoft.com/office/drawing/2014/main" id="{A544519E-4896-4FDD-A3CA-64A9C9B71327}"/>
              </a:ext>
            </a:extLst>
          </p:cNvPr>
          <p:cNvSpPr txBox="1"/>
          <p:nvPr/>
        </p:nvSpPr>
        <p:spPr>
          <a:xfrm>
            <a:off x="4382294" y="2718658"/>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Use Azure Machine Learning</a:t>
            </a:r>
            <a:endParaRPr lang="en-IN" sz="2000" dirty="0"/>
          </a:p>
        </p:txBody>
      </p:sp>
      <p:sp>
        <p:nvSpPr>
          <p:cNvPr id="19" name="TextBox 18">
            <a:extLst>
              <a:ext uri="{FF2B5EF4-FFF2-40B4-BE49-F238E27FC236}">
                <a16:creationId xmlns:a16="http://schemas.microsoft.com/office/drawing/2014/main" id="{AE2808B0-B8BA-4BFB-AEE2-DEE2B66E0482}"/>
              </a:ext>
            </a:extLst>
          </p:cNvPr>
          <p:cNvSpPr txBox="1"/>
          <p:nvPr/>
        </p:nvSpPr>
        <p:spPr>
          <a:xfrm>
            <a:off x="444499" y="3815732"/>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Analyze and identify potential attacks</a:t>
            </a:r>
            <a:endParaRPr lang="en-IN" sz="2000" dirty="0"/>
          </a:p>
        </p:txBody>
      </p:sp>
      <p:sp>
        <p:nvSpPr>
          <p:cNvPr id="36" name="TextBox 35">
            <a:extLst>
              <a:ext uri="{FF2B5EF4-FFF2-40B4-BE49-F238E27FC236}">
                <a16:creationId xmlns:a16="http://schemas.microsoft.com/office/drawing/2014/main" id="{B278D3ED-A8F0-4095-862D-89E979420C57}"/>
              </a:ext>
            </a:extLst>
          </p:cNvPr>
          <p:cNvSpPr txBox="1"/>
          <p:nvPr/>
        </p:nvSpPr>
        <p:spPr>
          <a:xfrm>
            <a:off x="4382294" y="3815732"/>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Provide just-in-time (JIT) access control</a:t>
            </a:r>
            <a:endParaRPr lang="en-IN" sz="2000" dirty="0"/>
          </a:p>
        </p:txBody>
      </p:sp>
      <p:sp>
        <p:nvSpPr>
          <p:cNvPr id="35" name="TextBox 34">
            <a:extLst>
              <a:ext uri="{FF2B5EF4-FFF2-40B4-BE49-F238E27FC236}">
                <a16:creationId xmlns:a16="http://schemas.microsoft.com/office/drawing/2014/main" id="{D7C0DA8C-F9EF-44CC-9F2F-63C7E3567D70}"/>
              </a:ext>
            </a:extLst>
          </p:cNvPr>
          <p:cNvSpPr txBox="1"/>
          <p:nvPr/>
        </p:nvSpPr>
        <p:spPr>
          <a:xfrm>
            <a:off x="444499" y="4912807"/>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Supports Windows and Linux operating systems</a:t>
            </a:r>
            <a:endParaRPr lang="en-IN" sz="2000" dirty="0"/>
          </a:p>
        </p:txBody>
      </p:sp>
      <p:sp>
        <p:nvSpPr>
          <p:cNvPr id="22" name="TextBox 21">
            <a:extLst>
              <a:ext uri="{FF2B5EF4-FFF2-40B4-BE49-F238E27FC236}">
                <a16:creationId xmlns:a16="http://schemas.microsoft.com/office/drawing/2014/main" id="{CF83F063-D614-4DEF-938D-0B192E2D01A7}"/>
              </a:ext>
            </a:extLst>
          </p:cNvPr>
          <p:cNvSpPr txBox="1"/>
          <p:nvPr/>
        </p:nvSpPr>
        <p:spPr>
          <a:xfrm>
            <a:off x="4382294" y="4912807"/>
            <a:ext cx="3786000" cy="955340"/>
          </a:xfrm>
          <a:prstGeom prst="rect">
            <a:avLst/>
          </a:prstGeom>
          <a:solidFill>
            <a:schemeClr val="bg1">
              <a:lumMod val="95000"/>
            </a:schemeClr>
          </a:solidFill>
        </p:spPr>
        <p:txBody>
          <a:bodyPr wrap="square" lIns="137160" tIns="91440" rIns="137160" bIns="91440" rtlCol="0" anchor="ctr" anchorCtr="0">
            <a:noAutofit/>
          </a:bodyPr>
          <a:lstStyle/>
          <a:p>
            <a:pPr lvl="0" defTabSz="577850">
              <a:spcBef>
                <a:spcPct val="0"/>
              </a:spcBef>
            </a:pPr>
            <a:r>
              <a:rPr lang="en-US" sz="2000" dirty="0"/>
              <a:t>Available in two pricing tiers</a:t>
            </a:r>
            <a:endParaRPr lang="en-IN" sz="2000" dirty="0"/>
          </a:p>
        </p:txBody>
      </p:sp>
      <p:pic>
        <p:nvPicPr>
          <p:cNvPr id="3" name="Picture 2" descr="Azure security center icon">
            <a:extLst>
              <a:ext uri="{FF2B5EF4-FFF2-40B4-BE49-F238E27FC236}">
                <a16:creationId xmlns:a16="http://schemas.microsoft.com/office/drawing/2014/main" id="{3A4023C6-402E-4F52-B236-A6D1D3000D6F}"/>
              </a:ext>
            </a:extLst>
          </p:cNvPr>
          <p:cNvPicPr>
            <a:picLocks noChangeAspect="1"/>
          </p:cNvPicPr>
          <p:nvPr/>
        </p:nvPicPr>
        <p:blipFill rotWithShape="1">
          <a:blip r:embed="rId3"/>
          <a:srcRect l="-50452" t="-55548" r="-49504" b="-55548"/>
          <a:stretch/>
        </p:blipFill>
        <p:spPr>
          <a:xfrm>
            <a:off x="8320088" y="1621584"/>
            <a:ext cx="3689350" cy="4246563"/>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309747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1B9C-B4A1-4E8B-BDD0-8D4B9DE9519A}"/>
              </a:ext>
            </a:extLst>
          </p:cNvPr>
          <p:cNvSpPr>
            <a:spLocks noGrp="1"/>
          </p:cNvSpPr>
          <p:nvPr>
            <p:ph type="title"/>
          </p:nvPr>
        </p:nvSpPr>
        <p:spPr>
          <a:xfrm>
            <a:off x="465138" y="632779"/>
            <a:ext cx="11533187" cy="411162"/>
          </a:xfrm>
        </p:spPr>
        <p:txBody>
          <a:bodyPr/>
          <a:lstStyle/>
          <a:p>
            <a:r>
              <a:rPr lang="en-US" dirty="0"/>
              <a:t>Learning objectives</a:t>
            </a:r>
          </a:p>
        </p:txBody>
      </p:sp>
      <p:sp>
        <p:nvSpPr>
          <p:cNvPr id="4" name="TextBox 3">
            <a:extLst>
              <a:ext uri="{FF2B5EF4-FFF2-40B4-BE49-F238E27FC236}">
                <a16:creationId xmlns:a16="http://schemas.microsoft.com/office/drawing/2014/main" id="{E187DEEA-C89F-4A10-AEF3-2022E07F0393}"/>
              </a:ext>
            </a:extLst>
          </p:cNvPr>
          <p:cNvSpPr txBox="1"/>
          <p:nvPr/>
        </p:nvSpPr>
        <p:spPr>
          <a:xfrm>
            <a:off x="466344" y="1188720"/>
            <a:ext cx="11582400" cy="307777"/>
          </a:xfrm>
          <a:prstGeom prst="rect">
            <a:avLst/>
          </a:prstGeom>
          <a:noFill/>
        </p:spPr>
        <p:txBody>
          <a:bodyPr wrap="square" lIns="0" tIns="0" rIns="0" bIns="0" anchor="ctr">
            <a:spAutoFit/>
          </a:bodyPr>
          <a:lstStyle/>
          <a:p>
            <a:r>
              <a:rPr lang="en-US" sz="2000" dirty="0">
                <a:latin typeface="+mj-lt"/>
              </a:rPr>
              <a:t>After completing this Learning Path, students will be able to:</a:t>
            </a:r>
          </a:p>
        </p:txBody>
      </p:sp>
      <p:pic>
        <p:nvPicPr>
          <p:cNvPr id="70" name="Picture 69" descr="Icon of a hollow circle">
            <a:extLst>
              <a:ext uri="{FF2B5EF4-FFF2-40B4-BE49-F238E27FC236}">
                <a16:creationId xmlns:a16="http://schemas.microsoft.com/office/drawing/2014/main" id="{2485CC25-DAA5-418C-B702-A4C6A5369966}"/>
              </a:ext>
            </a:extLst>
          </p:cNvPr>
          <p:cNvPicPr>
            <a:picLocks noChangeAspect="1"/>
          </p:cNvPicPr>
          <p:nvPr/>
        </p:nvPicPr>
        <p:blipFill>
          <a:blip r:embed="rId3"/>
          <a:stretch>
            <a:fillRect/>
          </a:stretch>
        </p:blipFill>
        <p:spPr>
          <a:xfrm>
            <a:off x="465138" y="3210880"/>
            <a:ext cx="630936" cy="632460"/>
          </a:xfrm>
          <a:prstGeom prst="rect">
            <a:avLst/>
          </a:prstGeom>
        </p:spPr>
      </p:pic>
      <p:sp>
        <p:nvSpPr>
          <p:cNvPr id="71" name="Rectangle 70">
            <a:extLst>
              <a:ext uri="{FF2B5EF4-FFF2-40B4-BE49-F238E27FC236}">
                <a16:creationId xmlns:a16="http://schemas.microsoft.com/office/drawing/2014/main" id="{27C301BF-9D46-44C8-A055-18088408385F}"/>
              </a:ext>
            </a:extLst>
          </p:cNvPr>
          <p:cNvSpPr>
            <a:spLocks/>
          </p:cNvSpPr>
          <p:nvPr/>
        </p:nvSpPr>
        <p:spPr>
          <a:xfrm>
            <a:off x="1283865" y="3405057"/>
            <a:ext cx="10707688" cy="244106"/>
          </a:xfrm>
          <a:prstGeom prst="rect">
            <a:avLst/>
          </a:prstGeom>
        </p:spPr>
        <p:txBody>
          <a:bodyPr wrap="square" lIns="0" tIns="0" rIns="0" bIns="0">
            <a:spAutoFit/>
          </a:bodyPr>
          <a:lstStyle/>
          <a:p>
            <a:pPr>
              <a:lnSpc>
                <a:spcPct val="107000"/>
              </a:lnSpc>
            </a:pPr>
            <a:r>
              <a:rPr lang="en-US" sz="1600" dirty="0"/>
              <a:t>Describe the potential challenges with integrating open-source software</a:t>
            </a:r>
          </a:p>
        </p:txBody>
      </p:sp>
      <p:cxnSp>
        <p:nvCxnSpPr>
          <p:cNvPr id="18" name="Straight Connector 17">
            <a:extLst>
              <a:ext uri="{FF2B5EF4-FFF2-40B4-BE49-F238E27FC236}">
                <a16:creationId xmlns:a16="http://schemas.microsoft.com/office/drawing/2014/main" id="{8C35B81A-491C-42F8-874F-13B44EE9281A}"/>
              </a:ext>
              <a:ext uri="{C183D7F6-B498-43B3-948B-1728B52AA6E4}">
                <adec:decorative xmlns:adec="http://schemas.microsoft.com/office/drawing/2017/decorative" val="1"/>
              </a:ext>
            </a:extLst>
          </p:cNvPr>
          <p:cNvCxnSpPr>
            <a:cxnSpLocks/>
          </p:cNvCxnSpPr>
          <p:nvPr/>
        </p:nvCxnSpPr>
        <p:spPr>
          <a:xfrm>
            <a:off x="1283865" y="3898151"/>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2" name="Picture 71" descr="Icon of three circles and aligned to three lines">
            <a:extLst>
              <a:ext uri="{FF2B5EF4-FFF2-40B4-BE49-F238E27FC236}">
                <a16:creationId xmlns:a16="http://schemas.microsoft.com/office/drawing/2014/main" id="{B1B1F4A4-7EC6-4E1D-90FE-36EF57A9E2E4}"/>
              </a:ext>
            </a:extLst>
          </p:cNvPr>
          <p:cNvPicPr>
            <a:picLocks noChangeAspect="1"/>
          </p:cNvPicPr>
          <p:nvPr/>
        </p:nvPicPr>
        <p:blipFill>
          <a:blip r:embed="rId4"/>
          <a:stretch>
            <a:fillRect/>
          </a:stretch>
        </p:blipFill>
        <p:spPr>
          <a:xfrm>
            <a:off x="465138" y="3952962"/>
            <a:ext cx="630936" cy="630936"/>
          </a:xfrm>
          <a:prstGeom prst="rect">
            <a:avLst/>
          </a:prstGeom>
        </p:spPr>
      </p:pic>
      <p:sp>
        <p:nvSpPr>
          <p:cNvPr id="74" name="Rectangle 73">
            <a:extLst>
              <a:ext uri="{FF2B5EF4-FFF2-40B4-BE49-F238E27FC236}">
                <a16:creationId xmlns:a16="http://schemas.microsoft.com/office/drawing/2014/main" id="{89FD8D76-52AA-4B44-B5E7-A07C19C4A83D}"/>
              </a:ext>
            </a:extLst>
          </p:cNvPr>
          <p:cNvSpPr>
            <a:spLocks/>
          </p:cNvSpPr>
          <p:nvPr/>
        </p:nvSpPr>
        <p:spPr>
          <a:xfrm>
            <a:off x="1283864" y="4145997"/>
            <a:ext cx="6775829" cy="244106"/>
          </a:xfrm>
          <a:prstGeom prst="rect">
            <a:avLst/>
          </a:prstGeom>
        </p:spPr>
        <p:txBody>
          <a:bodyPr wrap="none" lIns="0" tIns="0" rIns="0" bIns="0">
            <a:spAutoFit/>
          </a:bodyPr>
          <a:lstStyle/>
          <a:p>
            <a:pPr>
              <a:lnSpc>
                <a:spcPct val="107000"/>
              </a:lnSpc>
            </a:pPr>
            <a:r>
              <a:rPr lang="en-US" sz="1600" dirty="0"/>
              <a:t>Inspect open-source software packages for security and license compliance</a:t>
            </a:r>
          </a:p>
        </p:txBody>
      </p:sp>
      <p:cxnSp>
        <p:nvCxnSpPr>
          <p:cNvPr id="20" name="Straight Connector 19">
            <a:extLst>
              <a:ext uri="{FF2B5EF4-FFF2-40B4-BE49-F238E27FC236}">
                <a16:creationId xmlns:a16="http://schemas.microsoft.com/office/drawing/2014/main" id="{6182C732-CBBB-4A5A-833F-EC1047B7813E}"/>
              </a:ext>
              <a:ext uri="{C183D7F6-B498-43B3-948B-1728B52AA6E4}">
                <adec:decorative xmlns:adec="http://schemas.microsoft.com/office/drawing/2017/decorative" val="1"/>
              </a:ext>
            </a:extLst>
          </p:cNvPr>
          <p:cNvCxnSpPr>
            <a:cxnSpLocks/>
          </p:cNvCxnSpPr>
          <p:nvPr/>
        </p:nvCxnSpPr>
        <p:spPr>
          <a:xfrm>
            <a:off x="1283865" y="4638709"/>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6" name="Picture 75" descr="Icon of a gear inside a circle">
            <a:extLst>
              <a:ext uri="{FF2B5EF4-FFF2-40B4-BE49-F238E27FC236}">
                <a16:creationId xmlns:a16="http://schemas.microsoft.com/office/drawing/2014/main" id="{A99E3B1C-72EC-43C0-9BC6-66847EBDFE44}"/>
              </a:ext>
            </a:extLst>
          </p:cNvPr>
          <p:cNvPicPr>
            <a:picLocks noChangeAspect="1"/>
          </p:cNvPicPr>
          <p:nvPr/>
        </p:nvPicPr>
        <p:blipFill>
          <a:blip r:embed="rId5"/>
          <a:stretch>
            <a:fillRect/>
          </a:stretch>
        </p:blipFill>
        <p:spPr>
          <a:xfrm>
            <a:off x="465138" y="4693520"/>
            <a:ext cx="630936" cy="630936"/>
          </a:xfrm>
          <a:prstGeom prst="rect">
            <a:avLst/>
          </a:prstGeom>
        </p:spPr>
      </p:pic>
      <p:sp>
        <p:nvSpPr>
          <p:cNvPr id="77" name="Rectangle 76">
            <a:extLst>
              <a:ext uri="{FF2B5EF4-FFF2-40B4-BE49-F238E27FC236}">
                <a16:creationId xmlns:a16="http://schemas.microsoft.com/office/drawing/2014/main" id="{2B178F0A-D602-4E53-A4F4-C21C3FD78661}"/>
              </a:ext>
            </a:extLst>
          </p:cNvPr>
          <p:cNvSpPr>
            <a:spLocks/>
          </p:cNvSpPr>
          <p:nvPr/>
        </p:nvSpPr>
        <p:spPr>
          <a:xfrm>
            <a:off x="1283864" y="4886937"/>
            <a:ext cx="5045164" cy="244106"/>
          </a:xfrm>
          <a:prstGeom prst="rect">
            <a:avLst/>
          </a:prstGeom>
        </p:spPr>
        <p:txBody>
          <a:bodyPr wrap="none" lIns="0" tIns="0" rIns="0" bIns="0">
            <a:spAutoFit/>
          </a:bodyPr>
          <a:lstStyle/>
          <a:p>
            <a:pPr>
              <a:lnSpc>
                <a:spcPct val="107000"/>
              </a:lnSpc>
            </a:pPr>
            <a:r>
              <a:rPr lang="en-AU" sz="1600" dirty="0"/>
              <a:t>Manage organizational security and compliance policies</a:t>
            </a:r>
            <a:endParaRPr lang="en-US" sz="1600" dirty="0"/>
          </a:p>
        </p:txBody>
      </p:sp>
      <p:cxnSp>
        <p:nvCxnSpPr>
          <p:cNvPr id="21" name="Straight Connector 20">
            <a:extLst>
              <a:ext uri="{FF2B5EF4-FFF2-40B4-BE49-F238E27FC236}">
                <a16:creationId xmlns:a16="http://schemas.microsoft.com/office/drawing/2014/main" id="{D12F2B9E-82FE-4895-BAD9-87436DBCA0D6}"/>
              </a:ext>
              <a:ext uri="{C183D7F6-B498-43B3-948B-1728B52AA6E4}">
                <adec:decorative xmlns:adec="http://schemas.microsoft.com/office/drawing/2017/decorative" val="1"/>
              </a:ext>
            </a:extLst>
          </p:cNvPr>
          <p:cNvCxnSpPr>
            <a:cxnSpLocks/>
          </p:cNvCxnSpPr>
          <p:nvPr/>
        </p:nvCxnSpPr>
        <p:spPr>
          <a:xfrm>
            <a:off x="1283865" y="5379267"/>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8" name="Picture 77" descr="Icon of a closed and open bracket">
            <a:extLst>
              <a:ext uri="{FF2B5EF4-FFF2-40B4-BE49-F238E27FC236}">
                <a16:creationId xmlns:a16="http://schemas.microsoft.com/office/drawing/2014/main" id="{CC638140-DE3B-4AB1-88AD-29D009FF05DA}"/>
              </a:ext>
            </a:extLst>
          </p:cNvPr>
          <p:cNvPicPr>
            <a:picLocks noChangeAspect="1"/>
          </p:cNvPicPr>
          <p:nvPr/>
        </p:nvPicPr>
        <p:blipFill>
          <a:blip r:embed="rId6"/>
          <a:stretch>
            <a:fillRect/>
          </a:stretch>
        </p:blipFill>
        <p:spPr>
          <a:xfrm>
            <a:off x="465138" y="5434078"/>
            <a:ext cx="630936" cy="632460"/>
          </a:xfrm>
          <a:prstGeom prst="rect">
            <a:avLst/>
          </a:prstGeom>
        </p:spPr>
      </p:pic>
      <p:sp>
        <p:nvSpPr>
          <p:cNvPr id="79" name="Rectangle 78">
            <a:extLst>
              <a:ext uri="{FF2B5EF4-FFF2-40B4-BE49-F238E27FC236}">
                <a16:creationId xmlns:a16="http://schemas.microsoft.com/office/drawing/2014/main" id="{67663F80-641B-4C52-8F62-E533B8367BC5}"/>
              </a:ext>
            </a:extLst>
          </p:cNvPr>
          <p:cNvSpPr>
            <a:spLocks/>
          </p:cNvSpPr>
          <p:nvPr/>
        </p:nvSpPr>
        <p:spPr>
          <a:xfrm>
            <a:off x="1283864" y="5627877"/>
            <a:ext cx="6897722" cy="244106"/>
          </a:xfrm>
          <a:prstGeom prst="rect">
            <a:avLst/>
          </a:prstGeom>
        </p:spPr>
        <p:txBody>
          <a:bodyPr wrap="none" lIns="0" tIns="0" rIns="0" bIns="0">
            <a:spAutoFit/>
          </a:bodyPr>
          <a:lstStyle/>
          <a:p>
            <a:pPr>
              <a:lnSpc>
                <a:spcPct val="107000"/>
              </a:lnSpc>
            </a:pPr>
            <a:r>
              <a:rPr lang="en-AU" sz="1600" dirty="0"/>
              <a:t>Integrate license and vulnerability scans into build and deployment pipelines</a:t>
            </a:r>
            <a:endParaRPr lang="en-US" sz="1600" dirty="0"/>
          </a:p>
        </p:txBody>
      </p:sp>
      <p:cxnSp>
        <p:nvCxnSpPr>
          <p:cNvPr id="22" name="Straight Connector 21">
            <a:extLst>
              <a:ext uri="{FF2B5EF4-FFF2-40B4-BE49-F238E27FC236}">
                <a16:creationId xmlns:a16="http://schemas.microsoft.com/office/drawing/2014/main" id="{B615E248-BD55-4C6F-8932-138A1C36097B}"/>
              </a:ext>
              <a:ext uri="{C183D7F6-B498-43B3-948B-1728B52AA6E4}">
                <adec:decorative xmlns:adec="http://schemas.microsoft.com/office/drawing/2017/decorative" val="1"/>
              </a:ext>
            </a:extLst>
          </p:cNvPr>
          <p:cNvCxnSpPr>
            <a:cxnSpLocks/>
          </p:cNvCxnSpPr>
          <p:nvPr/>
        </p:nvCxnSpPr>
        <p:spPr>
          <a:xfrm>
            <a:off x="1283865" y="6121349"/>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2" name="Picture 31" descr="Icon of a lightning bolt symbol inside a circle">
            <a:extLst>
              <a:ext uri="{FF2B5EF4-FFF2-40B4-BE49-F238E27FC236}">
                <a16:creationId xmlns:a16="http://schemas.microsoft.com/office/drawing/2014/main" id="{AB1214F9-75C9-4443-8B03-BF592F9A965B}"/>
              </a:ext>
            </a:extLst>
          </p:cNvPr>
          <p:cNvPicPr>
            <a:picLocks noChangeAspect="1"/>
          </p:cNvPicPr>
          <p:nvPr/>
        </p:nvPicPr>
        <p:blipFill>
          <a:blip r:embed="rId7"/>
          <a:srcRect l="591" t="591" r="591" b="591"/>
          <a:stretch>
            <a:fillRect/>
          </a:stretch>
        </p:blipFill>
        <p:spPr>
          <a:xfrm>
            <a:off x="465138" y="6176160"/>
            <a:ext cx="630936" cy="630936"/>
          </a:xfrm>
          <a:custGeom>
            <a:avLst/>
            <a:gdLst>
              <a:gd name="connsiteX0" fmla="*/ 315468 w 630936"/>
              <a:gd name="connsiteY0" fmla="*/ 0 h 630936"/>
              <a:gd name="connsiteX1" fmla="*/ 630936 w 630936"/>
              <a:gd name="connsiteY1" fmla="*/ 315468 h 630936"/>
              <a:gd name="connsiteX2" fmla="*/ 315468 w 630936"/>
              <a:gd name="connsiteY2" fmla="*/ 630936 h 630936"/>
              <a:gd name="connsiteX3" fmla="*/ 0 w 630936"/>
              <a:gd name="connsiteY3" fmla="*/ 315468 h 630936"/>
              <a:gd name="connsiteX4" fmla="*/ 315468 w 630936"/>
              <a:gd name="connsiteY4" fmla="*/ 0 h 630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36" h="630936">
                <a:moveTo>
                  <a:pt x="315468" y="0"/>
                </a:moveTo>
                <a:cubicBezTo>
                  <a:pt x="489696" y="0"/>
                  <a:pt x="630936" y="141240"/>
                  <a:pt x="630936" y="315468"/>
                </a:cubicBezTo>
                <a:cubicBezTo>
                  <a:pt x="630936" y="489696"/>
                  <a:pt x="489696" y="630936"/>
                  <a:pt x="315468" y="630936"/>
                </a:cubicBezTo>
                <a:cubicBezTo>
                  <a:pt x="141240" y="630936"/>
                  <a:pt x="0" y="489696"/>
                  <a:pt x="0" y="315468"/>
                </a:cubicBezTo>
                <a:cubicBezTo>
                  <a:pt x="0" y="141240"/>
                  <a:pt x="141240" y="0"/>
                  <a:pt x="315468" y="0"/>
                </a:cubicBezTo>
                <a:close/>
              </a:path>
            </a:pathLst>
          </a:custGeom>
        </p:spPr>
      </p:pic>
      <p:sp>
        <p:nvSpPr>
          <p:cNvPr id="81" name="Rectangle 80">
            <a:extLst>
              <a:ext uri="{FF2B5EF4-FFF2-40B4-BE49-F238E27FC236}">
                <a16:creationId xmlns:a16="http://schemas.microsoft.com/office/drawing/2014/main" id="{1BDC5E8C-5788-42D3-9A02-1832E8956957}"/>
              </a:ext>
            </a:extLst>
          </p:cNvPr>
          <p:cNvSpPr>
            <a:spLocks/>
          </p:cNvSpPr>
          <p:nvPr/>
        </p:nvSpPr>
        <p:spPr>
          <a:xfrm>
            <a:off x="1283864" y="6368817"/>
            <a:ext cx="6531660" cy="244106"/>
          </a:xfrm>
          <a:prstGeom prst="rect">
            <a:avLst/>
          </a:prstGeom>
        </p:spPr>
        <p:txBody>
          <a:bodyPr wrap="none" lIns="0" tIns="0" rIns="0" bIns="0">
            <a:spAutoFit/>
          </a:bodyPr>
          <a:lstStyle/>
          <a:p>
            <a:pPr>
              <a:lnSpc>
                <a:spcPct val="107000"/>
              </a:lnSpc>
            </a:pPr>
            <a:r>
              <a:rPr lang="en-US" sz="1600" dirty="0"/>
              <a:t>Configure build pipeline to access package security and license ratings</a:t>
            </a:r>
          </a:p>
        </p:txBody>
      </p:sp>
      <p:cxnSp>
        <p:nvCxnSpPr>
          <p:cNvPr id="23" name="Straight Connector 22">
            <a:extLst>
              <a:ext uri="{FF2B5EF4-FFF2-40B4-BE49-F238E27FC236}">
                <a16:creationId xmlns:a16="http://schemas.microsoft.com/office/drawing/2014/main" id="{4F16E1EE-22A4-49A1-89E8-35F463CFAFEC}"/>
              </a:ext>
              <a:ext uri="{C183D7F6-B498-43B3-948B-1728B52AA6E4}">
                <adec:decorative xmlns:adec="http://schemas.microsoft.com/office/drawing/2017/decorative" val="1"/>
              </a:ext>
            </a:extLst>
          </p:cNvPr>
          <p:cNvCxnSpPr>
            <a:cxnSpLocks/>
          </p:cNvCxnSpPr>
          <p:nvPr/>
        </p:nvCxnSpPr>
        <p:spPr>
          <a:xfrm>
            <a:off x="1283865" y="3105165"/>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descr="Icon of wrench and screw driver">
            <a:extLst>
              <a:ext uri="{FF2B5EF4-FFF2-40B4-BE49-F238E27FC236}">
                <a16:creationId xmlns:a16="http://schemas.microsoft.com/office/drawing/2014/main" id="{4F975B0A-AE7F-4324-99B4-479500FF09BE}"/>
              </a:ext>
            </a:extLst>
          </p:cNvPr>
          <p:cNvPicPr>
            <a:picLocks noChangeAspect="1"/>
          </p:cNvPicPr>
          <p:nvPr/>
        </p:nvPicPr>
        <p:blipFill>
          <a:blip r:embed="rId8"/>
          <a:stretch>
            <a:fillRect/>
          </a:stretch>
        </p:blipFill>
        <p:spPr>
          <a:xfrm>
            <a:off x="465138" y="1689630"/>
            <a:ext cx="630936" cy="630936"/>
          </a:xfrm>
          <a:prstGeom prst="rect">
            <a:avLst/>
          </a:prstGeom>
        </p:spPr>
      </p:pic>
      <p:sp>
        <p:nvSpPr>
          <p:cNvPr id="5" name="Rectangle 4">
            <a:extLst>
              <a:ext uri="{FF2B5EF4-FFF2-40B4-BE49-F238E27FC236}">
                <a16:creationId xmlns:a16="http://schemas.microsoft.com/office/drawing/2014/main" id="{B99FFC96-2F81-4CED-B473-09E9836B1E8C}"/>
              </a:ext>
            </a:extLst>
          </p:cNvPr>
          <p:cNvSpPr/>
          <p:nvPr/>
        </p:nvSpPr>
        <p:spPr>
          <a:xfrm>
            <a:off x="1283864" y="1758876"/>
            <a:ext cx="8533904" cy="49244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lvl="0"/>
            <a:r>
              <a:rPr lang="en-US" sz="1600" dirty="0">
                <a:solidFill>
                  <a:schemeClr val="tx1"/>
                </a:solidFill>
              </a:rPr>
              <a:t>Define an infrastructure and configuration strategy and appropriate toolset for a release pipeline and application infrastructure</a:t>
            </a:r>
            <a:endParaRPr lang="en-IN" sz="1600" dirty="0">
              <a:solidFill>
                <a:schemeClr val="tx1"/>
              </a:solidFill>
            </a:endParaRPr>
          </a:p>
        </p:txBody>
      </p:sp>
      <p:pic>
        <p:nvPicPr>
          <p:cNvPr id="7" name="Picture 6" descr="Icon of a security lock">
            <a:extLst>
              <a:ext uri="{FF2B5EF4-FFF2-40B4-BE49-F238E27FC236}">
                <a16:creationId xmlns:a16="http://schemas.microsoft.com/office/drawing/2014/main" id="{79E401A7-6BEC-4CD4-9B68-0568893AC44E}"/>
              </a:ext>
            </a:extLst>
          </p:cNvPr>
          <p:cNvPicPr>
            <a:picLocks noChangeAspect="1"/>
          </p:cNvPicPr>
          <p:nvPr/>
        </p:nvPicPr>
        <p:blipFill>
          <a:blip r:embed="rId9"/>
          <a:stretch>
            <a:fillRect/>
          </a:stretch>
        </p:blipFill>
        <p:spPr>
          <a:xfrm>
            <a:off x="465138" y="2471416"/>
            <a:ext cx="630936" cy="629842"/>
          </a:xfrm>
          <a:prstGeom prst="rect">
            <a:avLst/>
          </a:prstGeom>
        </p:spPr>
      </p:pic>
      <p:sp>
        <p:nvSpPr>
          <p:cNvPr id="8" name="Rectangle 7">
            <a:extLst>
              <a:ext uri="{FF2B5EF4-FFF2-40B4-BE49-F238E27FC236}">
                <a16:creationId xmlns:a16="http://schemas.microsoft.com/office/drawing/2014/main" id="{37449885-DA04-47BE-B5C4-9242755BE54C}"/>
              </a:ext>
            </a:extLst>
          </p:cNvPr>
          <p:cNvSpPr/>
          <p:nvPr/>
        </p:nvSpPr>
        <p:spPr>
          <a:xfrm>
            <a:off x="1283864" y="2666629"/>
            <a:ext cx="8961389" cy="24622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r>
              <a:rPr lang="en-US" sz="1600" dirty="0">
                <a:solidFill>
                  <a:schemeClr val="tx1"/>
                </a:solidFill>
              </a:rPr>
              <a:t>Implement compliance and security in your application infrastructure </a:t>
            </a:r>
          </a:p>
        </p:txBody>
      </p:sp>
      <p:cxnSp>
        <p:nvCxnSpPr>
          <p:cNvPr id="10" name="Straight Connector 9">
            <a:extLst>
              <a:ext uri="{FF2B5EF4-FFF2-40B4-BE49-F238E27FC236}">
                <a16:creationId xmlns:a16="http://schemas.microsoft.com/office/drawing/2014/main" id="{8B457200-F786-4DCD-AEA8-D09FD82EA62B}"/>
              </a:ext>
              <a:ext uri="{C183D7F6-B498-43B3-948B-1728B52AA6E4}">
                <adec:decorative xmlns:adec="http://schemas.microsoft.com/office/drawing/2017/decorative" val="1"/>
              </a:ext>
            </a:extLst>
          </p:cNvPr>
          <p:cNvCxnSpPr>
            <a:cxnSpLocks/>
          </p:cNvCxnSpPr>
          <p:nvPr/>
        </p:nvCxnSpPr>
        <p:spPr>
          <a:xfrm>
            <a:off x="1284321" y="2471416"/>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34867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CA7E-AE01-480A-AAB4-23DEDAD8750F}"/>
              </a:ext>
            </a:extLst>
          </p:cNvPr>
          <p:cNvSpPr>
            <a:spLocks noGrp="1"/>
          </p:cNvSpPr>
          <p:nvPr>
            <p:ph type="title"/>
          </p:nvPr>
        </p:nvSpPr>
        <p:spPr>
          <a:xfrm>
            <a:off x="427038" y="632779"/>
            <a:ext cx="11571287" cy="411162"/>
          </a:xfrm>
        </p:spPr>
        <p:txBody>
          <a:bodyPr/>
          <a:lstStyle/>
          <a:p>
            <a:r>
              <a:rPr lang="en-US" dirty="0"/>
              <a:t>Examine Microsoft Defender for Cloud usage scenarios</a:t>
            </a:r>
          </a:p>
        </p:txBody>
      </p:sp>
      <p:sp>
        <p:nvSpPr>
          <p:cNvPr id="6" name="Rectangle 5">
            <a:extLst>
              <a:ext uri="{FF2B5EF4-FFF2-40B4-BE49-F238E27FC236}">
                <a16:creationId xmlns:a16="http://schemas.microsoft.com/office/drawing/2014/main" id="{63118F45-47EE-4A87-BE6B-05CE90ABA847}"/>
              </a:ext>
            </a:extLst>
          </p:cNvPr>
          <p:cNvSpPr/>
          <p:nvPr/>
        </p:nvSpPr>
        <p:spPr>
          <a:xfrm>
            <a:off x="450048" y="1341523"/>
            <a:ext cx="5694538" cy="601481"/>
          </a:xfrm>
          <a:prstGeom prst="rect">
            <a:avLst/>
          </a:prstGeom>
          <a:solidFill>
            <a:srgbClr val="243A5E"/>
          </a:solidFill>
          <a:ln>
            <a:noFill/>
          </a:ln>
        </p:spPr>
        <p:txBody>
          <a:bodyPr wrap="square" anchor="ctr">
            <a:noAutofit/>
          </a:bodyPr>
          <a:lstStyle/>
          <a:p>
            <a:pPr algn="ctr"/>
            <a:r>
              <a:rPr lang="en-US" sz="2400" dirty="0">
                <a:solidFill>
                  <a:schemeClr val="bg1"/>
                </a:solidFill>
                <a:latin typeface="+mj-lt"/>
              </a:rPr>
              <a:t>Scenario 1 </a:t>
            </a:r>
          </a:p>
        </p:txBody>
      </p:sp>
      <p:sp>
        <p:nvSpPr>
          <p:cNvPr id="19" name="Rectangle 18">
            <a:extLst>
              <a:ext uri="{FF2B5EF4-FFF2-40B4-BE49-F238E27FC236}">
                <a16:creationId xmlns:a16="http://schemas.microsoft.com/office/drawing/2014/main" id="{E214E356-2030-4AC9-8213-EE4267B96215}"/>
              </a:ext>
              <a:ext uri="{C183D7F6-B498-43B3-948B-1728B52AA6E4}">
                <adec:decorative xmlns:adec="http://schemas.microsoft.com/office/drawing/2017/decorative" val="0"/>
              </a:ext>
            </a:extLst>
          </p:cNvPr>
          <p:cNvSpPr/>
          <p:nvPr/>
        </p:nvSpPr>
        <p:spPr>
          <a:xfrm>
            <a:off x="450049" y="1341523"/>
            <a:ext cx="5696712" cy="5316277"/>
          </a:xfrm>
          <a:prstGeom prst="rect">
            <a:avLst/>
          </a:prstGeom>
          <a:noFill/>
          <a:ln w="1905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731520" rIns="182880" bIns="137160" numCol="1" spcCol="0" rtlCol="0" fromWordArt="0" anchor="t" anchorCtr="0" forceAA="0" compatLnSpc="1">
            <a:prstTxWarp prst="textNoShape">
              <a:avLst/>
            </a:prstTxWarp>
            <a:noAutofit/>
          </a:bodyPr>
          <a:lstStyle/>
          <a:p>
            <a:pPr lvl="0"/>
            <a:r>
              <a:rPr lang="en-IE" dirty="0">
                <a:solidFill>
                  <a:srgbClr val="000000"/>
                </a:solidFill>
              </a:rPr>
              <a:t>Use Security </a:t>
            </a:r>
            <a:r>
              <a:rPr lang="en-IE" dirty="0" err="1">
                <a:solidFill>
                  <a:srgbClr val="000000"/>
                </a:solidFill>
              </a:rPr>
              <a:t>Center</a:t>
            </a:r>
            <a:r>
              <a:rPr lang="en-IE" dirty="0">
                <a:solidFill>
                  <a:srgbClr val="000000"/>
                </a:solidFill>
              </a:rPr>
              <a:t> for an incident response</a:t>
            </a:r>
            <a:endParaRPr lang="en-US" sz="2000" b="1" dirty="0">
              <a:solidFill>
                <a:srgbClr val="000000"/>
              </a:solidFill>
            </a:endParaRPr>
          </a:p>
        </p:txBody>
      </p:sp>
      <p:pic>
        <p:nvPicPr>
          <p:cNvPr id="23" name="Picture 22" descr="Process flow from detect to assess to diagnose to stabilize to close">
            <a:extLst>
              <a:ext uri="{FF2B5EF4-FFF2-40B4-BE49-F238E27FC236}">
                <a16:creationId xmlns:a16="http://schemas.microsoft.com/office/drawing/2014/main" id="{08CDDD01-4B70-4B6E-BC32-A87608C3D399}"/>
              </a:ext>
            </a:extLst>
          </p:cNvPr>
          <p:cNvPicPr>
            <a:picLocks noChangeAspect="1"/>
          </p:cNvPicPr>
          <p:nvPr/>
        </p:nvPicPr>
        <p:blipFill>
          <a:blip r:embed="rId3"/>
          <a:stretch>
            <a:fillRect/>
          </a:stretch>
        </p:blipFill>
        <p:spPr>
          <a:xfrm>
            <a:off x="942722" y="2495769"/>
            <a:ext cx="4711366" cy="2094704"/>
          </a:xfrm>
          <a:prstGeom prst="rect">
            <a:avLst/>
          </a:prstGeom>
        </p:spPr>
      </p:pic>
      <p:sp>
        <p:nvSpPr>
          <p:cNvPr id="27" name="TextBox 26">
            <a:extLst>
              <a:ext uri="{FF2B5EF4-FFF2-40B4-BE49-F238E27FC236}">
                <a16:creationId xmlns:a16="http://schemas.microsoft.com/office/drawing/2014/main" id="{9F5EE888-AAE4-467A-BFD3-F776945F4329}"/>
              </a:ext>
            </a:extLst>
          </p:cNvPr>
          <p:cNvSpPr txBox="1"/>
          <p:nvPr/>
        </p:nvSpPr>
        <p:spPr>
          <a:xfrm>
            <a:off x="645146" y="4611591"/>
            <a:ext cx="5306518" cy="646331"/>
          </a:xfrm>
          <a:prstGeom prst="rect">
            <a:avLst/>
          </a:prstGeom>
          <a:noFill/>
        </p:spPr>
        <p:txBody>
          <a:bodyPr wrap="square" lIns="0" tIns="0" rIns="0" bIns="0" rtlCol="0" anchor="ctr">
            <a:noAutofit/>
          </a:bodyPr>
          <a:lstStyle/>
          <a:p>
            <a:pPr lvl="0" defTabSz="577850">
              <a:spcBef>
                <a:spcPct val="0"/>
              </a:spcBef>
            </a:pPr>
            <a:r>
              <a:rPr lang="en-US" dirty="0">
                <a:latin typeface="+mj-lt"/>
              </a:rPr>
              <a:t>Detect</a:t>
            </a:r>
            <a:r>
              <a:rPr lang="en-US" dirty="0"/>
              <a:t> </a:t>
            </a:r>
            <a:r>
              <a:rPr lang="en-US" dirty="0">
                <a:latin typeface="+mj-lt"/>
              </a:rPr>
              <a:t>–</a:t>
            </a:r>
            <a:r>
              <a:rPr lang="en-US" dirty="0"/>
              <a:t> Verify a high security alert was raised </a:t>
            </a:r>
            <a:endParaRPr lang="en-IN" dirty="0"/>
          </a:p>
        </p:txBody>
      </p:sp>
      <p:cxnSp>
        <p:nvCxnSpPr>
          <p:cNvPr id="59" name="Straight Connector 58">
            <a:extLst>
              <a:ext uri="{FF2B5EF4-FFF2-40B4-BE49-F238E27FC236}">
                <a16:creationId xmlns:a16="http://schemas.microsoft.com/office/drawing/2014/main" id="{E1F63BE9-BA58-4D2E-A33B-60DD9FCC52A6}"/>
              </a:ext>
              <a:ext uri="{C183D7F6-B498-43B3-948B-1728B52AA6E4}">
                <adec:decorative xmlns:adec="http://schemas.microsoft.com/office/drawing/2017/decorative" val="1"/>
              </a:ext>
            </a:extLst>
          </p:cNvPr>
          <p:cNvCxnSpPr>
            <a:cxnSpLocks/>
          </p:cNvCxnSpPr>
          <p:nvPr/>
        </p:nvCxnSpPr>
        <p:spPr>
          <a:xfrm>
            <a:off x="645146" y="5284728"/>
            <a:ext cx="530651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4B39291-DB8A-4404-BE5C-EC6F3EFE5AFB}"/>
              </a:ext>
            </a:extLst>
          </p:cNvPr>
          <p:cNvSpPr txBox="1"/>
          <p:nvPr/>
        </p:nvSpPr>
        <p:spPr>
          <a:xfrm>
            <a:off x="645146" y="5311534"/>
            <a:ext cx="5306518" cy="646331"/>
          </a:xfrm>
          <a:prstGeom prst="rect">
            <a:avLst/>
          </a:prstGeom>
          <a:noFill/>
        </p:spPr>
        <p:txBody>
          <a:bodyPr wrap="square" lIns="0" tIns="0" rIns="0" bIns="0" rtlCol="0" anchor="ctr">
            <a:noAutofit/>
          </a:bodyPr>
          <a:lstStyle/>
          <a:p>
            <a:pPr lvl="0" defTabSz="577850">
              <a:spcBef>
                <a:spcPct val="0"/>
              </a:spcBef>
            </a:pPr>
            <a:r>
              <a:rPr lang="en-US" dirty="0">
                <a:latin typeface="+mj-lt"/>
              </a:rPr>
              <a:t>Access – </a:t>
            </a:r>
            <a:r>
              <a:rPr lang="en-US" dirty="0"/>
              <a:t>Obtain information about the alert</a:t>
            </a:r>
            <a:endParaRPr lang="en-IN" dirty="0"/>
          </a:p>
        </p:txBody>
      </p:sp>
      <p:cxnSp>
        <p:nvCxnSpPr>
          <p:cNvPr id="61" name="Straight Connector 60">
            <a:extLst>
              <a:ext uri="{FF2B5EF4-FFF2-40B4-BE49-F238E27FC236}">
                <a16:creationId xmlns:a16="http://schemas.microsoft.com/office/drawing/2014/main" id="{783549A0-F38A-43E4-9AF7-0C74EB42204A}"/>
              </a:ext>
              <a:ext uri="{C183D7F6-B498-43B3-948B-1728B52AA6E4}">
                <adec:decorative xmlns:adec="http://schemas.microsoft.com/office/drawing/2017/decorative" val="1"/>
              </a:ext>
            </a:extLst>
          </p:cNvPr>
          <p:cNvCxnSpPr>
            <a:cxnSpLocks/>
          </p:cNvCxnSpPr>
          <p:nvPr/>
        </p:nvCxnSpPr>
        <p:spPr>
          <a:xfrm>
            <a:off x="645146" y="5984671"/>
            <a:ext cx="530651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F57766A-20A3-4DA7-BE4A-36C3F3D8F8DD}"/>
              </a:ext>
            </a:extLst>
          </p:cNvPr>
          <p:cNvSpPr txBox="1"/>
          <p:nvPr/>
        </p:nvSpPr>
        <p:spPr>
          <a:xfrm>
            <a:off x="645146" y="6011475"/>
            <a:ext cx="5306518" cy="646331"/>
          </a:xfrm>
          <a:prstGeom prst="rect">
            <a:avLst/>
          </a:prstGeom>
          <a:noFill/>
        </p:spPr>
        <p:txBody>
          <a:bodyPr wrap="square" lIns="0" tIns="0" rIns="0" bIns="0" rtlCol="0" anchor="ctr">
            <a:noAutofit/>
          </a:bodyPr>
          <a:lstStyle/>
          <a:p>
            <a:pPr lvl="0" defTabSz="577850">
              <a:spcBef>
                <a:spcPct val="0"/>
              </a:spcBef>
            </a:pPr>
            <a:r>
              <a:rPr lang="en-US" dirty="0">
                <a:latin typeface="+mj-lt"/>
              </a:rPr>
              <a:t>Diagnose –</a:t>
            </a:r>
            <a:r>
              <a:rPr lang="en-US" dirty="0"/>
              <a:t> Follow the remediation steps</a:t>
            </a:r>
            <a:endParaRPr lang="en-IN" dirty="0"/>
          </a:p>
        </p:txBody>
      </p:sp>
      <p:sp>
        <p:nvSpPr>
          <p:cNvPr id="9" name="Rectangle 8">
            <a:extLst>
              <a:ext uri="{FF2B5EF4-FFF2-40B4-BE49-F238E27FC236}">
                <a16:creationId xmlns:a16="http://schemas.microsoft.com/office/drawing/2014/main" id="{F2365794-1731-4229-9E05-70B95F6CA5EA}"/>
              </a:ext>
            </a:extLst>
          </p:cNvPr>
          <p:cNvSpPr/>
          <p:nvPr/>
        </p:nvSpPr>
        <p:spPr>
          <a:xfrm flipH="1">
            <a:off x="6314897" y="1341523"/>
            <a:ext cx="5694539" cy="601481"/>
          </a:xfrm>
          <a:prstGeom prst="rect">
            <a:avLst/>
          </a:prstGeom>
          <a:solidFill>
            <a:srgbClr val="243A5E"/>
          </a:solidFill>
          <a:ln>
            <a:noFill/>
          </a:ln>
        </p:spPr>
        <p:txBody>
          <a:bodyPr wrap="square" anchor="ctr">
            <a:noAutofit/>
          </a:bodyPr>
          <a:lstStyle/>
          <a:p>
            <a:pPr algn="ctr"/>
            <a:r>
              <a:rPr lang="en-US" sz="2400" dirty="0">
                <a:solidFill>
                  <a:schemeClr val="bg1"/>
                </a:solidFill>
                <a:latin typeface="+mj-lt"/>
              </a:rPr>
              <a:t>Scenario 2</a:t>
            </a:r>
          </a:p>
        </p:txBody>
      </p:sp>
      <p:sp>
        <p:nvSpPr>
          <p:cNvPr id="20" name="Rectangle 19">
            <a:extLst>
              <a:ext uri="{FF2B5EF4-FFF2-40B4-BE49-F238E27FC236}">
                <a16:creationId xmlns:a16="http://schemas.microsoft.com/office/drawing/2014/main" id="{3E58CA3A-3F7F-4849-A075-A64EF9A14724}"/>
              </a:ext>
              <a:ext uri="{C183D7F6-B498-43B3-948B-1728B52AA6E4}">
                <adec:decorative xmlns:adec="http://schemas.microsoft.com/office/drawing/2017/decorative" val="0"/>
              </a:ext>
            </a:extLst>
          </p:cNvPr>
          <p:cNvSpPr/>
          <p:nvPr/>
        </p:nvSpPr>
        <p:spPr>
          <a:xfrm>
            <a:off x="6314900" y="1341523"/>
            <a:ext cx="5694538" cy="5316277"/>
          </a:xfrm>
          <a:prstGeom prst="rect">
            <a:avLst/>
          </a:prstGeom>
          <a:noFill/>
          <a:ln w="1905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731520" rIns="182880" bIns="137160" numCol="1" spcCol="0" rtlCol="0" fromWordArt="0" anchor="t" anchorCtr="0" forceAA="0" compatLnSpc="1">
            <a:prstTxWarp prst="textNoShape">
              <a:avLst/>
            </a:prstTxWarp>
            <a:noAutofit/>
          </a:bodyPr>
          <a:lstStyle/>
          <a:p>
            <a:r>
              <a:rPr lang="en-IE" dirty="0">
                <a:solidFill>
                  <a:srgbClr val="000000"/>
                </a:solidFill>
              </a:rPr>
              <a:t>Use Security Center recommendations to enhance security</a:t>
            </a:r>
            <a:endParaRPr lang="en-US" dirty="0">
              <a:solidFill>
                <a:srgbClr val="000000"/>
              </a:solidFill>
            </a:endParaRPr>
          </a:p>
        </p:txBody>
      </p:sp>
      <p:sp>
        <p:nvSpPr>
          <p:cNvPr id="7" name="Rectangle 6">
            <a:extLst>
              <a:ext uri="{FF2B5EF4-FFF2-40B4-BE49-F238E27FC236}">
                <a16:creationId xmlns:a16="http://schemas.microsoft.com/office/drawing/2014/main" id="{2B92F003-CF86-402A-A266-ADA20FC510E6}"/>
              </a:ext>
            </a:extLst>
          </p:cNvPr>
          <p:cNvSpPr/>
          <p:nvPr/>
        </p:nvSpPr>
        <p:spPr bwMode="auto">
          <a:xfrm>
            <a:off x="7944235" y="2777547"/>
            <a:ext cx="2557687" cy="697577"/>
          </a:xfrm>
          <a:prstGeom prst="rect">
            <a:avLst/>
          </a:prstGeom>
          <a:solidFill>
            <a:schemeClr val="accent2">
              <a:lumMod val="75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dirty="0">
                <a:solidFill>
                  <a:schemeClr val="bg1"/>
                </a:solidFill>
                <a:latin typeface="+mj-lt"/>
                <a:ea typeface="Segoe UI" pitchFamily="34" charset="0"/>
                <a:cs typeface="Segoe UI" pitchFamily="34" charset="0"/>
              </a:rPr>
              <a:t>Security Policy</a:t>
            </a:r>
          </a:p>
        </p:txBody>
      </p:sp>
      <p:cxnSp>
        <p:nvCxnSpPr>
          <p:cNvPr id="11" name="Straight Arrow Connector 10" descr="Arrow pointing downwards">
            <a:extLst>
              <a:ext uri="{FF2B5EF4-FFF2-40B4-BE49-F238E27FC236}">
                <a16:creationId xmlns:a16="http://schemas.microsoft.com/office/drawing/2014/main" id="{B59B50DB-6FA3-4E9D-880B-67184B275708}"/>
              </a:ext>
              <a:ext uri="{C183D7F6-B498-43B3-948B-1728B52AA6E4}">
                <adec:decorative xmlns:adec="http://schemas.microsoft.com/office/drawing/2017/decorative" val="0"/>
              </a:ext>
            </a:extLst>
          </p:cNvPr>
          <p:cNvCxnSpPr>
            <a:cxnSpLocks/>
            <a:stCxn id="7" idx="2"/>
            <a:endCxn id="8" idx="0"/>
          </p:cNvCxnSpPr>
          <p:nvPr/>
        </p:nvCxnSpPr>
        <p:spPr>
          <a:xfrm>
            <a:off x="9223079" y="3475124"/>
            <a:ext cx="0" cy="457039"/>
          </a:xfrm>
          <a:prstGeom prst="straightConnector1">
            <a:avLst/>
          </a:prstGeom>
          <a:ln w="19050">
            <a:solidFill>
              <a:schemeClr val="bg1">
                <a:lumMod val="50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1AF04223-87EF-4404-B8C5-47B37C17BD14}"/>
              </a:ext>
            </a:extLst>
          </p:cNvPr>
          <p:cNvSpPr/>
          <p:nvPr/>
        </p:nvSpPr>
        <p:spPr bwMode="auto">
          <a:xfrm>
            <a:off x="7944235" y="3932163"/>
            <a:ext cx="2557687" cy="697577"/>
          </a:xfrm>
          <a:prstGeom prst="rect">
            <a:avLst/>
          </a:prstGeom>
          <a:solidFill>
            <a:schemeClr val="accent2">
              <a:lumMod val="75000"/>
            </a:schemeClr>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dirty="0">
                <a:solidFill>
                  <a:schemeClr val="bg1"/>
                </a:solidFill>
                <a:latin typeface="+mj-lt"/>
                <a:ea typeface="Segoe UI" pitchFamily="34" charset="0"/>
                <a:cs typeface="Segoe UI" pitchFamily="34" charset="0"/>
              </a:rPr>
              <a:t>Recommendations</a:t>
            </a:r>
          </a:p>
        </p:txBody>
      </p:sp>
      <p:sp>
        <p:nvSpPr>
          <p:cNvPr id="54" name="TextBox 53">
            <a:extLst>
              <a:ext uri="{FF2B5EF4-FFF2-40B4-BE49-F238E27FC236}">
                <a16:creationId xmlns:a16="http://schemas.microsoft.com/office/drawing/2014/main" id="{F0F5570A-6BB1-4CBD-9BE2-AD75FAB52BE1}"/>
              </a:ext>
            </a:extLst>
          </p:cNvPr>
          <p:cNvSpPr txBox="1"/>
          <p:nvPr/>
        </p:nvSpPr>
        <p:spPr>
          <a:xfrm flipH="1">
            <a:off x="6510409" y="4611591"/>
            <a:ext cx="5303520" cy="646331"/>
          </a:xfrm>
          <a:prstGeom prst="rect">
            <a:avLst/>
          </a:prstGeom>
          <a:noFill/>
        </p:spPr>
        <p:txBody>
          <a:bodyPr wrap="square" lIns="0" tIns="0" rIns="0" bIns="0" rtlCol="0" anchor="ctr">
            <a:noAutofit/>
          </a:bodyPr>
          <a:lstStyle/>
          <a:p>
            <a:pPr lvl="0" defTabSz="577850">
              <a:spcBef>
                <a:spcPct val="0"/>
              </a:spcBef>
            </a:pPr>
            <a:r>
              <a:rPr lang="en-US" dirty="0">
                <a:latin typeface="+mj-lt"/>
              </a:rPr>
              <a:t>Configure</a:t>
            </a:r>
            <a:r>
              <a:rPr lang="en-US" dirty="0"/>
              <a:t> a security policy</a:t>
            </a:r>
            <a:endParaRPr lang="en-IN" dirty="0"/>
          </a:p>
        </p:txBody>
      </p:sp>
      <p:cxnSp>
        <p:nvCxnSpPr>
          <p:cNvPr id="63" name="Straight Connector 62">
            <a:extLst>
              <a:ext uri="{FF2B5EF4-FFF2-40B4-BE49-F238E27FC236}">
                <a16:creationId xmlns:a16="http://schemas.microsoft.com/office/drawing/2014/main" id="{A485C11B-C59A-47BE-A202-EF31949A100F}"/>
              </a:ext>
              <a:ext uri="{C183D7F6-B498-43B3-948B-1728B52AA6E4}">
                <adec:decorative xmlns:adec="http://schemas.microsoft.com/office/drawing/2017/decorative" val="1"/>
              </a:ext>
            </a:extLst>
          </p:cNvPr>
          <p:cNvCxnSpPr>
            <a:cxnSpLocks/>
          </p:cNvCxnSpPr>
          <p:nvPr/>
        </p:nvCxnSpPr>
        <p:spPr>
          <a:xfrm>
            <a:off x="6510409" y="5284728"/>
            <a:ext cx="530352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4CC671D8-C238-4A0F-B5FA-485057F7FA4C}"/>
              </a:ext>
            </a:extLst>
          </p:cNvPr>
          <p:cNvSpPr txBox="1"/>
          <p:nvPr/>
        </p:nvSpPr>
        <p:spPr>
          <a:xfrm flipH="1">
            <a:off x="6510409" y="5311534"/>
            <a:ext cx="5303520" cy="646331"/>
          </a:xfrm>
          <a:prstGeom prst="rect">
            <a:avLst/>
          </a:prstGeom>
          <a:noFill/>
        </p:spPr>
        <p:txBody>
          <a:bodyPr wrap="square" lIns="0" tIns="0" rIns="0" bIns="0" rtlCol="0" anchor="ctr">
            <a:noAutofit/>
          </a:bodyPr>
          <a:lstStyle/>
          <a:p>
            <a:pPr lvl="0" defTabSz="577850">
              <a:spcBef>
                <a:spcPct val="0"/>
              </a:spcBef>
            </a:pPr>
            <a:r>
              <a:rPr lang="en-US" dirty="0">
                <a:latin typeface="+mj-lt"/>
              </a:rPr>
              <a:t>Implement</a:t>
            </a:r>
            <a:r>
              <a:rPr lang="en-US" dirty="0"/>
              <a:t> the recommendations for the security policy</a:t>
            </a:r>
            <a:endParaRPr lang="en-IN" dirty="0"/>
          </a:p>
        </p:txBody>
      </p:sp>
    </p:spTree>
    <p:extLst>
      <p:ext uri="{BB962C8B-B14F-4D97-AF65-F5344CB8AC3E}">
        <p14:creationId xmlns:p14="http://schemas.microsoft.com/office/powerpoint/2010/main" val="2815425515"/>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4A24B-7026-49F1-BE10-0F050C4FAEF9}"/>
              </a:ext>
            </a:extLst>
          </p:cNvPr>
          <p:cNvSpPr>
            <a:spLocks noGrp="1"/>
          </p:cNvSpPr>
          <p:nvPr>
            <p:ph type="title"/>
          </p:nvPr>
        </p:nvSpPr>
        <p:spPr>
          <a:xfrm>
            <a:off x="427038" y="632779"/>
            <a:ext cx="11571287" cy="411162"/>
          </a:xfrm>
        </p:spPr>
        <p:txBody>
          <a:bodyPr/>
          <a:lstStyle/>
          <a:p>
            <a:r>
              <a:rPr lang="en-US" dirty="0"/>
              <a:t>Explore Azure Policy</a:t>
            </a:r>
          </a:p>
        </p:txBody>
      </p:sp>
      <p:sp>
        <p:nvSpPr>
          <p:cNvPr id="13" name="Rectangle 12">
            <a:extLst>
              <a:ext uri="{FF2B5EF4-FFF2-40B4-BE49-F238E27FC236}">
                <a16:creationId xmlns:a16="http://schemas.microsoft.com/office/drawing/2014/main" id="{AAA9819F-89BB-4BEE-A9BD-3CBA35FFDDFE}"/>
              </a:ext>
            </a:extLst>
          </p:cNvPr>
          <p:cNvSpPr/>
          <p:nvPr/>
        </p:nvSpPr>
        <p:spPr>
          <a:xfrm>
            <a:off x="439738" y="1192213"/>
            <a:ext cx="8081962" cy="850217"/>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666750">
              <a:spcBef>
                <a:spcPct val="0"/>
              </a:spcBef>
            </a:pPr>
            <a:r>
              <a:rPr lang="en-US" sz="2000" dirty="0">
                <a:solidFill>
                  <a:schemeClr val="tx1"/>
                </a:solidFill>
              </a:rPr>
              <a:t>Is a service in Azure that you use to create, assign, and manage policies</a:t>
            </a:r>
            <a:endParaRPr lang="en-IN" sz="2000" dirty="0">
              <a:solidFill>
                <a:schemeClr val="tx1"/>
              </a:solidFill>
            </a:endParaRPr>
          </a:p>
        </p:txBody>
      </p:sp>
      <p:sp>
        <p:nvSpPr>
          <p:cNvPr id="19" name="Rectangle 18">
            <a:extLst>
              <a:ext uri="{FF2B5EF4-FFF2-40B4-BE49-F238E27FC236}">
                <a16:creationId xmlns:a16="http://schemas.microsoft.com/office/drawing/2014/main" id="{5D8B0403-CA36-4D1A-9A82-1B826E9559C0}"/>
              </a:ext>
            </a:extLst>
          </p:cNvPr>
          <p:cNvSpPr/>
          <p:nvPr/>
        </p:nvSpPr>
        <p:spPr>
          <a:xfrm>
            <a:off x="439738" y="2173855"/>
            <a:ext cx="8081962" cy="850217"/>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666750">
              <a:spcBef>
                <a:spcPct val="0"/>
              </a:spcBef>
            </a:pPr>
            <a:r>
              <a:rPr lang="en-US" sz="2000" dirty="0">
                <a:solidFill>
                  <a:schemeClr val="tx1"/>
                </a:solidFill>
              </a:rPr>
              <a:t>Provides enforcement by using policies and initiatives</a:t>
            </a:r>
            <a:endParaRPr lang="en-IN" sz="2000" dirty="0">
              <a:solidFill>
                <a:schemeClr val="tx1"/>
              </a:solidFill>
            </a:endParaRPr>
          </a:p>
        </p:txBody>
      </p:sp>
      <p:sp>
        <p:nvSpPr>
          <p:cNvPr id="25" name="Rectangle 24">
            <a:extLst>
              <a:ext uri="{FF2B5EF4-FFF2-40B4-BE49-F238E27FC236}">
                <a16:creationId xmlns:a16="http://schemas.microsoft.com/office/drawing/2014/main" id="{F1A528D9-BBBF-48CB-B5BA-8010950983FF}"/>
              </a:ext>
            </a:extLst>
          </p:cNvPr>
          <p:cNvSpPr/>
          <p:nvPr/>
        </p:nvSpPr>
        <p:spPr>
          <a:xfrm>
            <a:off x="439738" y="3155497"/>
            <a:ext cx="8081962" cy="850217"/>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666750">
              <a:spcBef>
                <a:spcPct val="0"/>
              </a:spcBef>
            </a:pPr>
            <a:r>
              <a:rPr lang="en-US" sz="2000" dirty="0">
                <a:solidFill>
                  <a:schemeClr val="tx1"/>
                </a:solidFill>
              </a:rPr>
              <a:t>Runs evaluations on your resources and scans for those not compliant </a:t>
            </a:r>
            <a:endParaRPr lang="en-IN" sz="2000" dirty="0">
              <a:solidFill>
                <a:schemeClr val="tx1"/>
              </a:solidFill>
            </a:endParaRPr>
          </a:p>
        </p:txBody>
      </p:sp>
      <p:sp>
        <p:nvSpPr>
          <p:cNvPr id="31" name="Rectangle 30">
            <a:extLst>
              <a:ext uri="{FF2B5EF4-FFF2-40B4-BE49-F238E27FC236}">
                <a16:creationId xmlns:a16="http://schemas.microsoft.com/office/drawing/2014/main" id="{D56926B8-54CD-44AD-80AD-A4F583093A08}"/>
              </a:ext>
            </a:extLst>
          </p:cNvPr>
          <p:cNvSpPr/>
          <p:nvPr/>
        </p:nvSpPr>
        <p:spPr>
          <a:xfrm>
            <a:off x="439738" y="4137139"/>
            <a:ext cx="8081962" cy="850217"/>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755650">
              <a:spcBef>
                <a:spcPct val="0"/>
              </a:spcBef>
            </a:pPr>
            <a:r>
              <a:rPr lang="en-US" sz="2000" dirty="0">
                <a:solidFill>
                  <a:schemeClr val="tx1"/>
                </a:solidFill>
              </a:rPr>
              <a:t>Comes with several built-in policy and initiative definitions</a:t>
            </a:r>
            <a:endParaRPr lang="en-IN" sz="2000" dirty="0">
              <a:solidFill>
                <a:schemeClr val="tx1"/>
              </a:solidFill>
            </a:endParaRPr>
          </a:p>
        </p:txBody>
      </p:sp>
      <p:sp>
        <p:nvSpPr>
          <p:cNvPr id="37" name="Rectangle 36">
            <a:extLst>
              <a:ext uri="{FF2B5EF4-FFF2-40B4-BE49-F238E27FC236}">
                <a16:creationId xmlns:a16="http://schemas.microsoft.com/office/drawing/2014/main" id="{DAE2153A-C815-4A18-A4C2-46505C148248}"/>
              </a:ext>
            </a:extLst>
          </p:cNvPr>
          <p:cNvSpPr/>
          <p:nvPr/>
        </p:nvSpPr>
        <p:spPr>
          <a:xfrm>
            <a:off x="439738" y="5118783"/>
            <a:ext cx="8081962" cy="850217"/>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755650">
              <a:spcBef>
                <a:spcPct val="0"/>
              </a:spcBef>
            </a:pPr>
            <a:r>
              <a:rPr lang="en-US" sz="2000" dirty="0">
                <a:solidFill>
                  <a:schemeClr val="tx1"/>
                </a:solidFill>
              </a:rPr>
              <a:t>Integrates with Azure DevOps by applying any continuous integration (CI) and continuous deployment (CD) pipeline policies</a:t>
            </a:r>
            <a:endParaRPr lang="en-IN" sz="2000" dirty="0">
              <a:solidFill>
                <a:schemeClr val="tx1"/>
              </a:solidFill>
            </a:endParaRPr>
          </a:p>
        </p:txBody>
      </p:sp>
      <p:pic>
        <p:nvPicPr>
          <p:cNvPr id="6" name="Picture 5" descr="Azure Policy icon">
            <a:extLst>
              <a:ext uri="{FF2B5EF4-FFF2-40B4-BE49-F238E27FC236}">
                <a16:creationId xmlns:a16="http://schemas.microsoft.com/office/drawing/2014/main" id="{631B6E47-62AA-4234-A251-59FD8BA8D425}"/>
              </a:ext>
            </a:extLst>
          </p:cNvPr>
          <p:cNvPicPr>
            <a:picLocks noChangeAspect="1"/>
          </p:cNvPicPr>
          <p:nvPr/>
        </p:nvPicPr>
        <p:blipFill rotWithShape="1">
          <a:blip r:embed="rId3"/>
          <a:srcRect l="3895" t="-22745" r="-3150" b="-29978"/>
          <a:stretch/>
        </p:blipFill>
        <p:spPr>
          <a:xfrm>
            <a:off x="8629966" y="1192213"/>
            <a:ext cx="3379471" cy="4776785"/>
          </a:xfrm>
          <a:prstGeom prst="rect">
            <a:avLst/>
          </a:prstGeom>
          <a:noFill/>
          <a:ln w="19050">
            <a:solidFill>
              <a:schemeClr val="tx2"/>
            </a:solidFill>
            <a:headEnd type="none" w="med" len="med"/>
            <a:tailEnd type="none" w="med" len="med"/>
          </a:ln>
          <a:effectLst/>
        </p:spPr>
      </p:pic>
      <p:pic>
        <p:nvPicPr>
          <p:cNvPr id="3" name="Picture 2" descr="A tick mark">
            <a:extLst>
              <a:ext uri="{FF2B5EF4-FFF2-40B4-BE49-F238E27FC236}">
                <a16:creationId xmlns:a16="http://schemas.microsoft.com/office/drawing/2014/main" id="{FA6DD5FF-115E-4EA9-94AD-A4E56575F9DF}"/>
              </a:ext>
            </a:extLst>
          </p:cNvPr>
          <p:cNvPicPr>
            <a:picLocks noChangeAspect="1"/>
          </p:cNvPicPr>
          <p:nvPr/>
        </p:nvPicPr>
        <p:blipFill>
          <a:blip r:embed="rId4"/>
          <a:stretch>
            <a:fillRect/>
          </a:stretch>
        </p:blipFill>
        <p:spPr>
          <a:xfrm>
            <a:off x="427038" y="6212113"/>
            <a:ext cx="786452" cy="780356"/>
          </a:xfrm>
          <a:prstGeom prst="rect">
            <a:avLst/>
          </a:prstGeom>
        </p:spPr>
      </p:pic>
      <p:sp>
        <p:nvSpPr>
          <p:cNvPr id="42" name="Freeform: Shape 41">
            <a:extLst>
              <a:ext uri="{FF2B5EF4-FFF2-40B4-BE49-F238E27FC236}">
                <a16:creationId xmlns:a16="http://schemas.microsoft.com/office/drawing/2014/main" id="{3FEE9A49-436D-4A58-B11F-6DECC1C86868}"/>
              </a:ext>
            </a:extLst>
          </p:cNvPr>
          <p:cNvSpPr/>
          <p:nvPr/>
        </p:nvSpPr>
        <p:spPr bwMode="auto">
          <a:xfrm>
            <a:off x="0" y="6212113"/>
            <a:ext cx="12436475" cy="782411"/>
          </a:xfrm>
          <a:custGeom>
            <a:avLst/>
            <a:gdLst>
              <a:gd name="connsiteX0" fmla="*/ 1213422 w 12436475"/>
              <a:gd name="connsiteY0" fmla="*/ 0 h 782411"/>
              <a:gd name="connsiteX1" fmla="*/ 12436475 w 12436475"/>
              <a:gd name="connsiteY1" fmla="*/ 0 h 782411"/>
              <a:gd name="connsiteX2" fmla="*/ 12436475 w 12436475"/>
              <a:gd name="connsiteY2" fmla="*/ 782411 h 782411"/>
              <a:gd name="connsiteX3" fmla="*/ 1213422 w 12436475"/>
              <a:gd name="connsiteY3" fmla="*/ 782411 h 782411"/>
              <a:gd name="connsiteX4" fmla="*/ 0 w 12436475"/>
              <a:gd name="connsiteY4" fmla="*/ 0 h 782411"/>
              <a:gd name="connsiteX5" fmla="*/ 427038 w 12436475"/>
              <a:gd name="connsiteY5" fmla="*/ 0 h 782411"/>
              <a:gd name="connsiteX6" fmla="*/ 427038 w 12436475"/>
              <a:gd name="connsiteY6" fmla="*/ 782411 h 782411"/>
              <a:gd name="connsiteX7" fmla="*/ 0 w 12436475"/>
              <a:gd name="connsiteY7" fmla="*/ 782411 h 7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782411">
                <a:moveTo>
                  <a:pt x="1213422" y="0"/>
                </a:moveTo>
                <a:lnTo>
                  <a:pt x="12436475" y="0"/>
                </a:lnTo>
                <a:lnTo>
                  <a:pt x="12436475" y="782411"/>
                </a:lnTo>
                <a:lnTo>
                  <a:pt x="1213422" y="782411"/>
                </a:lnTo>
                <a:close/>
                <a:moveTo>
                  <a:pt x="0" y="0"/>
                </a:moveTo>
                <a:lnTo>
                  <a:pt x="427038" y="0"/>
                </a:lnTo>
                <a:lnTo>
                  <a:pt x="427038" y="782411"/>
                </a:lnTo>
                <a:lnTo>
                  <a:pt x="0" y="782411"/>
                </a:lnTo>
                <a:close/>
              </a:path>
            </a:pathLst>
          </a:cu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dirty="0">
                <a:solidFill>
                  <a:schemeClr val="tx1"/>
                </a:solidFill>
                <a:latin typeface="+mj-lt"/>
                <a:cs typeface="Segoe UI Semibold" panose="020B0702040204020203" pitchFamily="34" charset="0"/>
              </a:rPr>
              <a:t>An example of an Azure policy that you can integrate with your DevOps pipeline is the Check Gate task</a:t>
            </a:r>
          </a:p>
        </p:txBody>
      </p:sp>
    </p:spTree>
    <p:extLst>
      <p:ext uri="{BB962C8B-B14F-4D97-AF65-F5344CB8AC3E}">
        <p14:creationId xmlns:p14="http://schemas.microsoft.com/office/powerpoint/2010/main" val="77803719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51913-B7C1-4D16-9926-7B36BD404244}"/>
              </a:ext>
            </a:extLst>
          </p:cNvPr>
          <p:cNvSpPr>
            <a:spLocks noGrp="1"/>
          </p:cNvSpPr>
          <p:nvPr>
            <p:ph type="title"/>
          </p:nvPr>
        </p:nvSpPr>
        <p:spPr>
          <a:xfrm>
            <a:off x="427038" y="632779"/>
            <a:ext cx="11571287" cy="411162"/>
          </a:xfrm>
        </p:spPr>
        <p:txBody>
          <a:bodyPr/>
          <a:lstStyle/>
          <a:p>
            <a:r>
              <a:rPr lang="en-US" dirty="0"/>
              <a:t>Understand policies</a:t>
            </a:r>
          </a:p>
        </p:txBody>
      </p:sp>
      <p:sp>
        <p:nvSpPr>
          <p:cNvPr id="11" name="Rectangle 10">
            <a:extLst>
              <a:ext uri="{FF2B5EF4-FFF2-40B4-BE49-F238E27FC236}">
                <a16:creationId xmlns:a16="http://schemas.microsoft.com/office/drawing/2014/main" id="{F62A3F1A-3A86-4E28-ADAF-FFB784C29E8B}"/>
              </a:ext>
            </a:extLst>
          </p:cNvPr>
          <p:cNvSpPr/>
          <p:nvPr/>
        </p:nvSpPr>
        <p:spPr>
          <a:xfrm>
            <a:off x="427039" y="1274479"/>
            <a:ext cx="5033961" cy="933446"/>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1422400">
              <a:spcBef>
                <a:spcPct val="0"/>
              </a:spcBef>
            </a:pPr>
            <a:r>
              <a:rPr lang="en-US" sz="2000" dirty="0">
                <a:solidFill>
                  <a:schemeClr val="tx1"/>
                </a:solidFill>
              </a:rPr>
              <a:t>A </a:t>
            </a:r>
            <a:r>
              <a:rPr lang="en-US" sz="2000" i="1" dirty="0">
                <a:solidFill>
                  <a:schemeClr val="tx1"/>
                </a:solidFill>
              </a:rPr>
              <a:t>policy definition </a:t>
            </a:r>
            <a:r>
              <a:rPr lang="en-US" sz="2000" dirty="0">
                <a:solidFill>
                  <a:schemeClr val="tx1"/>
                </a:solidFill>
              </a:rPr>
              <a:t>expresses what to evaluate and what action to take</a:t>
            </a:r>
            <a:endParaRPr lang="en-IN" sz="2000" dirty="0">
              <a:solidFill>
                <a:schemeClr val="tx1"/>
              </a:solidFill>
            </a:endParaRPr>
          </a:p>
        </p:txBody>
      </p:sp>
      <p:sp>
        <p:nvSpPr>
          <p:cNvPr id="16" name="Rectangle 15">
            <a:extLst>
              <a:ext uri="{FF2B5EF4-FFF2-40B4-BE49-F238E27FC236}">
                <a16:creationId xmlns:a16="http://schemas.microsoft.com/office/drawing/2014/main" id="{A51CEE27-8948-40FF-A11E-BFD83CBD1B6E}"/>
              </a:ext>
            </a:extLst>
          </p:cNvPr>
          <p:cNvSpPr/>
          <p:nvPr/>
        </p:nvSpPr>
        <p:spPr>
          <a:xfrm>
            <a:off x="427039" y="2357776"/>
            <a:ext cx="5033961" cy="933446"/>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1422400">
              <a:spcBef>
                <a:spcPct val="0"/>
              </a:spcBef>
            </a:pPr>
            <a:r>
              <a:rPr lang="en-US" sz="2000" dirty="0">
                <a:solidFill>
                  <a:schemeClr val="tx1"/>
                </a:solidFill>
              </a:rPr>
              <a:t>Policies are defined in JSON</a:t>
            </a:r>
            <a:endParaRPr lang="en-IN" sz="2000" dirty="0">
              <a:solidFill>
                <a:schemeClr val="tx1"/>
              </a:solidFill>
            </a:endParaRPr>
          </a:p>
        </p:txBody>
      </p:sp>
      <p:sp>
        <p:nvSpPr>
          <p:cNvPr id="21" name="Rectangle 20">
            <a:extLst>
              <a:ext uri="{FF2B5EF4-FFF2-40B4-BE49-F238E27FC236}">
                <a16:creationId xmlns:a16="http://schemas.microsoft.com/office/drawing/2014/main" id="{62B9899B-0146-4FFA-B869-9A6AFA33F098}"/>
              </a:ext>
            </a:extLst>
          </p:cNvPr>
          <p:cNvSpPr/>
          <p:nvPr/>
        </p:nvSpPr>
        <p:spPr>
          <a:xfrm>
            <a:off x="427039" y="3441073"/>
            <a:ext cx="5033961" cy="933446"/>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1422400">
              <a:spcBef>
                <a:spcPct val="0"/>
              </a:spcBef>
            </a:pPr>
            <a:r>
              <a:rPr lang="en-US" sz="2000" dirty="0">
                <a:solidFill>
                  <a:schemeClr val="tx1"/>
                </a:solidFill>
              </a:rPr>
              <a:t>Assign policies using Azure Portal, Azure CLI, or Azure PowerShell</a:t>
            </a:r>
            <a:endParaRPr lang="en-IN" sz="2000" dirty="0">
              <a:solidFill>
                <a:schemeClr val="tx1"/>
              </a:solidFill>
            </a:endParaRPr>
          </a:p>
        </p:txBody>
      </p:sp>
      <p:sp>
        <p:nvSpPr>
          <p:cNvPr id="26" name="Rectangle 25">
            <a:extLst>
              <a:ext uri="{FF2B5EF4-FFF2-40B4-BE49-F238E27FC236}">
                <a16:creationId xmlns:a16="http://schemas.microsoft.com/office/drawing/2014/main" id="{07E374F4-751F-4FC2-9FFF-4DE7F0AC19E3}"/>
              </a:ext>
            </a:extLst>
          </p:cNvPr>
          <p:cNvSpPr/>
          <p:nvPr/>
        </p:nvSpPr>
        <p:spPr>
          <a:xfrm>
            <a:off x="427039" y="4524370"/>
            <a:ext cx="5033961" cy="933446"/>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1422400">
              <a:spcBef>
                <a:spcPct val="0"/>
              </a:spcBef>
            </a:pPr>
            <a:r>
              <a:rPr lang="en-US" sz="2000" dirty="0">
                <a:solidFill>
                  <a:schemeClr val="tx1"/>
                </a:solidFill>
              </a:rPr>
              <a:t>Use remediation for non-compliant resources</a:t>
            </a:r>
            <a:endParaRPr lang="en-IN" sz="2000" dirty="0">
              <a:solidFill>
                <a:schemeClr val="tx1"/>
              </a:solidFill>
            </a:endParaRPr>
          </a:p>
        </p:txBody>
      </p:sp>
      <p:sp>
        <p:nvSpPr>
          <p:cNvPr id="31" name="Rectangle 30">
            <a:extLst>
              <a:ext uri="{FF2B5EF4-FFF2-40B4-BE49-F238E27FC236}">
                <a16:creationId xmlns:a16="http://schemas.microsoft.com/office/drawing/2014/main" id="{C751A5CD-5CF5-4672-9F9A-D1394A198ACB}"/>
              </a:ext>
            </a:extLst>
          </p:cNvPr>
          <p:cNvSpPr/>
          <p:nvPr/>
        </p:nvSpPr>
        <p:spPr>
          <a:xfrm>
            <a:off x="427039" y="5607668"/>
            <a:ext cx="5033961" cy="933446"/>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7160" tIns="91440" rIns="137160" bIns="91440" numCol="1" spcCol="1270" anchor="ctr" anchorCtr="0">
            <a:noAutofit/>
          </a:bodyPr>
          <a:lstStyle/>
          <a:p>
            <a:pPr lvl="0" defTabSz="1422400">
              <a:spcBef>
                <a:spcPct val="0"/>
              </a:spcBef>
            </a:pPr>
            <a:r>
              <a:rPr lang="en-US" sz="2000" dirty="0">
                <a:solidFill>
                  <a:schemeClr val="tx1"/>
                </a:solidFill>
              </a:rPr>
              <a:t>The screenshot is a section of a policy file defining allowed locations</a:t>
            </a:r>
            <a:endParaRPr lang="en-IN" sz="2000" dirty="0">
              <a:solidFill>
                <a:schemeClr val="tx1"/>
              </a:solidFill>
            </a:endParaRPr>
          </a:p>
        </p:txBody>
      </p:sp>
      <p:pic>
        <p:nvPicPr>
          <p:cNvPr id="8" name="Picture 7" descr="A section of a policy file in yml, defining allowed locations and denying location not in the specified list">
            <a:extLst>
              <a:ext uri="{FF2B5EF4-FFF2-40B4-BE49-F238E27FC236}">
                <a16:creationId xmlns:a16="http://schemas.microsoft.com/office/drawing/2014/main" id="{FED67129-1BD4-403C-B0E7-4CD451F7D6B7}"/>
              </a:ext>
            </a:extLst>
          </p:cNvPr>
          <p:cNvPicPr>
            <a:picLocks noChangeAspect="1"/>
          </p:cNvPicPr>
          <p:nvPr/>
        </p:nvPicPr>
        <p:blipFill rotWithShape="1">
          <a:blip r:embed="rId3"/>
          <a:srcRect l="-1904" t="-1822" r="-1546" b="-1822"/>
          <a:stretch/>
        </p:blipFill>
        <p:spPr>
          <a:xfrm>
            <a:off x="5600700" y="1223678"/>
            <a:ext cx="6408738" cy="5317435"/>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284364124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60DBB-D10A-469E-966D-D519773CEE98}"/>
              </a:ext>
            </a:extLst>
          </p:cNvPr>
          <p:cNvSpPr>
            <a:spLocks noGrp="1"/>
          </p:cNvSpPr>
          <p:nvPr>
            <p:ph type="title"/>
          </p:nvPr>
        </p:nvSpPr>
        <p:spPr>
          <a:xfrm>
            <a:off x="427038" y="632779"/>
            <a:ext cx="11571287" cy="411162"/>
          </a:xfrm>
        </p:spPr>
        <p:txBody>
          <a:bodyPr/>
          <a:lstStyle/>
          <a:p>
            <a:r>
              <a:rPr lang="en-US" dirty="0"/>
              <a:t>Explore initiatives</a:t>
            </a:r>
          </a:p>
        </p:txBody>
      </p:sp>
      <p:sp>
        <p:nvSpPr>
          <p:cNvPr id="32" name="Rectangle 31">
            <a:extLst>
              <a:ext uri="{FF2B5EF4-FFF2-40B4-BE49-F238E27FC236}">
                <a16:creationId xmlns:a16="http://schemas.microsoft.com/office/drawing/2014/main" id="{1AC3A7CB-1AA5-404D-92DC-C2CAC22CAC21}"/>
              </a:ext>
            </a:extLst>
          </p:cNvPr>
          <p:cNvSpPr/>
          <p:nvPr/>
        </p:nvSpPr>
        <p:spPr>
          <a:xfrm>
            <a:off x="427038" y="1494529"/>
            <a:ext cx="5736210" cy="4291673"/>
          </a:xfrm>
          <a:prstGeom prst="rect">
            <a:avLst/>
          </a:prstGeom>
          <a:solidFill>
            <a:schemeClr val="bg1">
              <a:lumMod val="95000"/>
            </a:schemeClr>
          </a:solidFill>
          <a:ln w="190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defTabSz="1244600">
              <a:spcBef>
                <a:spcPts val="1800"/>
              </a:spcBef>
            </a:pPr>
            <a:r>
              <a:rPr lang="en-US" sz="2400" dirty="0">
                <a:solidFill>
                  <a:schemeClr val="tx1"/>
                </a:solidFill>
              </a:rPr>
              <a:t>An </a:t>
            </a:r>
            <a:r>
              <a:rPr lang="en-US" sz="2400" i="1" dirty="0">
                <a:solidFill>
                  <a:schemeClr val="tx1"/>
                </a:solidFill>
              </a:rPr>
              <a:t>initiative</a:t>
            </a:r>
            <a:r>
              <a:rPr lang="en-US" sz="2400" dirty="0">
                <a:solidFill>
                  <a:schemeClr val="tx1"/>
                </a:solidFill>
              </a:rPr>
              <a:t> </a:t>
            </a:r>
            <a:r>
              <a:rPr lang="en-US" sz="2400" i="1" dirty="0">
                <a:solidFill>
                  <a:schemeClr val="tx1"/>
                </a:solidFill>
              </a:rPr>
              <a:t>definition</a:t>
            </a:r>
            <a:r>
              <a:rPr lang="en-US" sz="2400" dirty="0">
                <a:solidFill>
                  <a:schemeClr val="tx1"/>
                </a:solidFill>
              </a:rPr>
              <a:t> is a set of policy definitions</a:t>
            </a:r>
          </a:p>
          <a:p>
            <a:pPr defTabSz="1244600">
              <a:spcBef>
                <a:spcPts val="1800"/>
              </a:spcBef>
            </a:pPr>
            <a:r>
              <a:rPr lang="en-US" sz="2400" dirty="0">
                <a:solidFill>
                  <a:schemeClr val="tx1"/>
                </a:solidFill>
              </a:rPr>
              <a:t>Helps track your compliance state for a larger goal</a:t>
            </a:r>
          </a:p>
          <a:p>
            <a:pPr defTabSz="1244600">
              <a:spcBef>
                <a:spcPts val="1800"/>
              </a:spcBef>
            </a:pPr>
            <a:r>
              <a:rPr lang="en-US" sz="2400" dirty="0">
                <a:solidFill>
                  <a:schemeClr val="tx1"/>
                </a:solidFill>
              </a:rPr>
              <a:t>Assigned to a specific scope</a:t>
            </a:r>
          </a:p>
          <a:p>
            <a:pPr defTabSz="1244600">
              <a:spcBef>
                <a:spcPts val="1800"/>
              </a:spcBef>
            </a:pPr>
            <a:r>
              <a:rPr lang="en-US" sz="2400" dirty="0">
                <a:solidFill>
                  <a:schemeClr val="tx1"/>
                </a:solidFill>
              </a:rPr>
              <a:t>Reduces the need for individual scope assignments</a:t>
            </a:r>
          </a:p>
        </p:txBody>
      </p:sp>
      <p:sp>
        <p:nvSpPr>
          <p:cNvPr id="28" name="Rectangle 27">
            <a:extLst>
              <a:ext uri="{FF2B5EF4-FFF2-40B4-BE49-F238E27FC236}">
                <a16:creationId xmlns:a16="http://schemas.microsoft.com/office/drawing/2014/main" id="{F5635109-7EA9-467F-B3C8-C309949C9227}"/>
              </a:ext>
              <a:ext uri="{C183D7F6-B498-43B3-948B-1728B52AA6E4}">
                <adec:decorative xmlns:adec="http://schemas.microsoft.com/office/drawing/2017/decorative" val="1"/>
              </a:ext>
            </a:extLst>
          </p:cNvPr>
          <p:cNvSpPr/>
          <p:nvPr/>
        </p:nvSpPr>
        <p:spPr bwMode="auto">
          <a:xfrm>
            <a:off x="6354762" y="1494530"/>
            <a:ext cx="5654675" cy="4291672"/>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37160" rIns="182880" bIns="13716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51028" fontAlgn="base">
              <a:spcBef>
                <a:spcPct val="0"/>
              </a:spcBef>
              <a:spcAft>
                <a:spcPts val="400"/>
              </a:spcAft>
            </a:pPr>
            <a:r>
              <a:rPr lang="en-US" sz="2400" dirty="0">
                <a:solidFill>
                  <a:schemeClr val="tx2"/>
                </a:solidFill>
                <a:latin typeface="+mj-lt"/>
              </a:rPr>
              <a:t>Initiative Example:</a:t>
            </a:r>
          </a:p>
          <a:p>
            <a:pPr defTabSz="951028" fontAlgn="base">
              <a:spcBef>
                <a:spcPct val="0"/>
              </a:spcBef>
              <a:spcAft>
                <a:spcPct val="0"/>
              </a:spcAft>
            </a:pPr>
            <a:r>
              <a:rPr lang="en-US" sz="2000" dirty="0">
                <a:solidFill>
                  <a:schemeClr val="tx1"/>
                </a:solidFill>
                <a:latin typeface="+mj-lt"/>
              </a:rPr>
              <a:t>Create an Initiative named </a:t>
            </a:r>
            <a:r>
              <a:rPr lang="en-US" sz="2000" i="1" dirty="0">
                <a:solidFill>
                  <a:schemeClr val="tx1"/>
                </a:solidFill>
                <a:latin typeface="+mj-lt"/>
              </a:rPr>
              <a:t>“Enable Monitoring In Microsoft Defender for Cloud.” </a:t>
            </a:r>
            <a:r>
              <a:rPr lang="en-US" sz="2000" dirty="0">
                <a:solidFill>
                  <a:schemeClr val="tx1"/>
                </a:solidFill>
                <a:latin typeface="+mj-lt"/>
              </a:rPr>
              <a:t>This would provide the following policies:</a:t>
            </a:r>
          </a:p>
          <a:p>
            <a:pPr marL="404813" indent="-285750" defTabSz="951028" fontAlgn="base">
              <a:spcBef>
                <a:spcPts val="600"/>
              </a:spcBef>
              <a:spcAft>
                <a:spcPts val="300"/>
              </a:spcAft>
              <a:buFont typeface="Arial" panose="020B0604020202020204" pitchFamily="34" charset="0"/>
              <a:buChar char="•"/>
            </a:pPr>
            <a:r>
              <a:rPr lang="en-US" sz="2000" dirty="0">
                <a:solidFill>
                  <a:schemeClr val="tx1"/>
                </a:solidFill>
              </a:rPr>
              <a:t>Monitor unencrypted SQL Database policy definition</a:t>
            </a:r>
          </a:p>
          <a:p>
            <a:pPr marL="404813" indent="-285750" defTabSz="951028" fontAlgn="base">
              <a:spcBef>
                <a:spcPts val="600"/>
              </a:spcBef>
              <a:spcAft>
                <a:spcPts val="300"/>
              </a:spcAft>
              <a:buFont typeface="Arial" panose="020B0604020202020204" pitchFamily="34" charset="0"/>
              <a:buChar char="•"/>
            </a:pPr>
            <a:r>
              <a:rPr lang="en-US" sz="2000" dirty="0">
                <a:solidFill>
                  <a:schemeClr val="tx1"/>
                </a:solidFill>
              </a:rPr>
              <a:t>Monitor OS vulnerabilities policy definition</a:t>
            </a:r>
          </a:p>
          <a:p>
            <a:pPr marL="404813" indent="-285750" defTabSz="951028" fontAlgn="base">
              <a:spcBef>
                <a:spcPts val="600"/>
              </a:spcBef>
              <a:spcAft>
                <a:spcPts val="300"/>
              </a:spcAft>
              <a:buFont typeface="Arial" panose="020B0604020202020204" pitchFamily="34" charset="0"/>
              <a:buChar char="•"/>
            </a:pPr>
            <a:r>
              <a:rPr lang="en-US" sz="2000" dirty="0">
                <a:solidFill>
                  <a:schemeClr val="tx1"/>
                </a:solidFill>
              </a:rPr>
              <a:t>Monitor missing Endpoint Protection policy definition</a:t>
            </a:r>
            <a:endParaRPr lang="en-US" sz="2000" dirty="0">
              <a:solidFill>
                <a:schemeClr val="tx1"/>
              </a:solidFill>
              <a:ea typeface="Segoe UI" pitchFamily="34" charset="0"/>
              <a:cs typeface="Segoe UI" pitchFamily="34" charset="0"/>
            </a:endParaRPr>
          </a:p>
        </p:txBody>
      </p:sp>
      <p:pic>
        <p:nvPicPr>
          <p:cNvPr id="3" name="Picture 2" descr="A tick mark">
            <a:extLst>
              <a:ext uri="{FF2B5EF4-FFF2-40B4-BE49-F238E27FC236}">
                <a16:creationId xmlns:a16="http://schemas.microsoft.com/office/drawing/2014/main" id="{D21C0570-AA7E-44F0-BA48-D41B9DBFE332}"/>
              </a:ext>
            </a:extLst>
          </p:cNvPr>
          <p:cNvPicPr>
            <a:picLocks noChangeAspect="1"/>
          </p:cNvPicPr>
          <p:nvPr/>
        </p:nvPicPr>
        <p:blipFill>
          <a:blip r:embed="rId3"/>
          <a:stretch>
            <a:fillRect/>
          </a:stretch>
        </p:blipFill>
        <p:spPr>
          <a:xfrm>
            <a:off x="427038" y="6212113"/>
            <a:ext cx="786452" cy="780356"/>
          </a:xfrm>
          <a:prstGeom prst="rect">
            <a:avLst/>
          </a:prstGeom>
        </p:spPr>
      </p:pic>
      <p:sp>
        <p:nvSpPr>
          <p:cNvPr id="50" name="Freeform: Shape 49">
            <a:extLst>
              <a:ext uri="{FF2B5EF4-FFF2-40B4-BE49-F238E27FC236}">
                <a16:creationId xmlns:a16="http://schemas.microsoft.com/office/drawing/2014/main" id="{89D5C12F-56BB-48C2-B3A7-C24C56B11B59}"/>
              </a:ext>
            </a:extLst>
          </p:cNvPr>
          <p:cNvSpPr/>
          <p:nvPr/>
        </p:nvSpPr>
        <p:spPr bwMode="auto">
          <a:xfrm>
            <a:off x="0" y="6212113"/>
            <a:ext cx="12436475" cy="782411"/>
          </a:xfrm>
          <a:custGeom>
            <a:avLst/>
            <a:gdLst>
              <a:gd name="connsiteX0" fmla="*/ 1213422 w 12436475"/>
              <a:gd name="connsiteY0" fmla="*/ 0 h 782411"/>
              <a:gd name="connsiteX1" fmla="*/ 12436475 w 12436475"/>
              <a:gd name="connsiteY1" fmla="*/ 0 h 782411"/>
              <a:gd name="connsiteX2" fmla="*/ 12436475 w 12436475"/>
              <a:gd name="connsiteY2" fmla="*/ 782411 h 782411"/>
              <a:gd name="connsiteX3" fmla="*/ 1213422 w 12436475"/>
              <a:gd name="connsiteY3" fmla="*/ 782411 h 782411"/>
              <a:gd name="connsiteX4" fmla="*/ 0 w 12436475"/>
              <a:gd name="connsiteY4" fmla="*/ 0 h 782411"/>
              <a:gd name="connsiteX5" fmla="*/ 427038 w 12436475"/>
              <a:gd name="connsiteY5" fmla="*/ 0 h 782411"/>
              <a:gd name="connsiteX6" fmla="*/ 427038 w 12436475"/>
              <a:gd name="connsiteY6" fmla="*/ 782411 h 782411"/>
              <a:gd name="connsiteX7" fmla="*/ 0 w 12436475"/>
              <a:gd name="connsiteY7" fmla="*/ 782411 h 7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782411">
                <a:moveTo>
                  <a:pt x="1213422" y="0"/>
                </a:moveTo>
                <a:lnTo>
                  <a:pt x="12436475" y="0"/>
                </a:lnTo>
                <a:lnTo>
                  <a:pt x="12436475" y="782411"/>
                </a:lnTo>
                <a:lnTo>
                  <a:pt x="1213422" y="782411"/>
                </a:lnTo>
                <a:close/>
                <a:moveTo>
                  <a:pt x="0" y="0"/>
                </a:moveTo>
                <a:lnTo>
                  <a:pt x="427038" y="0"/>
                </a:lnTo>
                <a:lnTo>
                  <a:pt x="427038" y="782411"/>
                </a:lnTo>
                <a:lnTo>
                  <a:pt x="0" y="782411"/>
                </a:lnTo>
                <a:close/>
              </a:path>
            </a:pathLst>
          </a:custGeom>
          <a:solidFill>
            <a:schemeClr val="bg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dirty="0">
                <a:solidFill>
                  <a:schemeClr val="tx1"/>
                </a:solidFill>
                <a:latin typeface="+mj-lt"/>
                <a:cs typeface="Segoe UI Semibold" panose="020B0702040204020203" pitchFamily="34" charset="0"/>
              </a:rPr>
              <a:t>Even if you have a single policy, we recommend using initiatives if you anticipate increasing</a:t>
            </a:r>
            <a:br>
              <a:rPr lang="en-US" dirty="0">
                <a:solidFill>
                  <a:schemeClr val="tx1"/>
                </a:solidFill>
                <a:latin typeface="+mj-lt"/>
                <a:cs typeface="Segoe UI Semibold" panose="020B0702040204020203" pitchFamily="34" charset="0"/>
              </a:rPr>
            </a:br>
            <a:r>
              <a:rPr lang="en-US" dirty="0">
                <a:solidFill>
                  <a:schemeClr val="tx1"/>
                </a:solidFill>
                <a:latin typeface="+mj-lt"/>
                <a:cs typeface="Segoe UI Semibold" panose="020B0702040204020203" pitchFamily="34" charset="0"/>
              </a:rPr>
              <a:t>the number of policies over time</a:t>
            </a:r>
          </a:p>
        </p:txBody>
      </p:sp>
    </p:spTree>
    <p:extLst>
      <p:ext uri="{BB962C8B-B14F-4D97-AF65-F5344CB8AC3E}">
        <p14:creationId xmlns:p14="http://schemas.microsoft.com/office/powerpoint/2010/main" val="14355316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F90C1-2255-406A-BD57-9F10E7E4A42E}"/>
              </a:ext>
            </a:extLst>
          </p:cNvPr>
          <p:cNvSpPr>
            <a:spLocks noGrp="1"/>
          </p:cNvSpPr>
          <p:nvPr>
            <p:ph type="title"/>
          </p:nvPr>
        </p:nvSpPr>
        <p:spPr>
          <a:xfrm>
            <a:off x="427038" y="632779"/>
            <a:ext cx="11571287" cy="411162"/>
          </a:xfrm>
        </p:spPr>
        <p:txBody>
          <a:bodyPr/>
          <a:lstStyle/>
          <a:p>
            <a:r>
              <a:rPr lang="en-US" dirty="0"/>
              <a:t>Explore resource locks</a:t>
            </a:r>
          </a:p>
        </p:txBody>
      </p:sp>
      <p:sp>
        <p:nvSpPr>
          <p:cNvPr id="7" name="Freeform: Shape 6">
            <a:extLst>
              <a:ext uri="{FF2B5EF4-FFF2-40B4-BE49-F238E27FC236}">
                <a16:creationId xmlns:a16="http://schemas.microsoft.com/office/drawing/2014/main" id="{F8894E2A-5127-4533-BAF0-085F01FB1AE6}"/>
              </a:ext>
            </a:extLst>
          </p:cNvPr>
          <p:cNvSpPr/>
          <p:nvPr/>
        </p:nvSpPr>
        <p:spPr>
          <a:xfrm>
            <a:off x="427038" y="1236848"/>
            <a:ext cx="9446382" cy="369332"/>
          </a:xfrm>
          <a:custGeom>
            <a:avLst/>
            <a:gdLst>
              <a:gd name="connsiteX0" fmla="*/ 0 w 11237870"/>
              <a:gd name="connsiteY0" fmla="*/ 60061 h 360360"/>
              <a:gd name="connsiteX1" fmla="*/ 60061 w 11237870"/>
              <a:gd name="connsiteY1" fmla="*/ 0 h 360360"/>
              <a:gd name="connsiteX2" fmla="*/ 11177809 w 11237870"/>
              <a:gd name="connsiteY2" fmla="*/ 0 h 360360"/>
              <a:gd name="connsiteX3" fmla="*/ 11237870 w 11237870"/>
              <a:gd name="connsiteY3" fmla="*/ 60061 h 360360"/>
              <a:gd name="connsiteX4" fmla="*/ 11237870 w 11237870"/>
              <a:gd name="connsiteY4" fmla="*/ 300299 h 360360"/>
              <a:gd name="connsiteX5" fmla="*/ 11177809 w 11237870"/>
              <a:gd name="connsiteY5" fmla="*/ 360360 h 360360"/>
              <a:gd name="connsiteX6" fmla="*/ 60061 w 11237870"/>
              <a:gd name="connsiteY6" fmla="*/ 360360 h 360360"/>
              <a:gd name="connsiteX7" fmla="*/ 0 w 11237870"/>
              <a:gd name="connsiteY7" fmla="*/ 300299 h 360360"/>
              <a:gd name="connsiteX8" fmla="*/ 0 w 11237870"/>
              <a:gd name="connsiteY8" fmla="*/ 60061 h 36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37870" h="360360">
                <a:moveTo>
                  <a:pt x="0" y="60061"/>
                </a:moveTo>
                <a:cubicBezTo>
                  <a:pt x="0" y="26890"/>
                  <a:pt x="26890" y="0"/>
                  <a:pt x="60061" y="0"/>
                </a:cubicBezTo>
                <a:lnTo>
                  <a:pt x="11177809" y="0"/>
                </a:lnTo>
                <a:cubicBezTo>
                  <a:pt x="11210980" y="0"/>
                  <a:pt x="11237870" y="26890"/>
                  <a:pt x="11237870" y="60061"/>
                </a:cubicBezTo>
                <a:lnTo>
                  <a:pt x="11237870" y="300299"/>
                </a:lnTo>
                <a:cubicBezTo>
                  <a:pt x="11237870" y="333470"/>
                  <a:pt x="11210980" y="360360"/>
                  <a:pt x="11177809" y="360360"/>
                </a:cubicBezTo>
                <a:lnTo>
                  <a:pt x="60061" y="360360"/>
                </a:lnTo>
                <a:cubicBezTo>
                  <a:pt x="26890" y="360360"/>
                  <a:pt x="0" y="333470"/>
                  <a:pt x="0" y="300299"/>
                </a:cubicBezTo>
                <a:lnTo>
                  <a:pt x="0" y="60061"/>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r>
              <a:rPr lang="en-US" sz="2400" dirty="0">
                <a:solidFill>
                  <a:schemeClr val="tx1"/>
                </a:solidFill>
                <a:latin typeface="+mj-lt"/>
              </a:rPr>
              <a:t>Prevent accidental deletion or modification of your Azure resources:</a:t>
            </a:r>
          </a:p>
        </p:txBody>
      </p:sp>
      <p:sp>
        <p:nvSpPr>
          <p:cNvPr id="3" name="Rectangle 2">
            <a:extLst>
              <a:ext uri="{FF2B5EF4-FFF2-40B4-BE49-F238E27FC236}">
                <a16:creationId xmlns:a16="http://schemas.microsoft.com/office/drawing/2014/main" id="{A212A565-2A92-4C27-8EEF-09608B4A4BB1}"/>
              </a:ext>
            </a:extLst>
          </p:cNvPr>
          <p:cNvSpPr/>
          <p:nvPr/>
        </p:nvSpPr>
        <p:spPr>
          <a:xfrm>
            <a:off x="427039" y="1867809"/>
            <a:ext cx="7178448" cy="3892273"/>
          </a:xfrm>
          <a:prstGeom prst="rect">
            <a:avLst/>
          </a:prstGeom>
          <a:solidFill>
            <a:schemeClr val="bg1">
              <a:lumMod val="95000"/>
            </a:schemeClr>
          </a:solidFill>
          <a:ln w="190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defTabSz="1244600">
              <a:spcBef>
                <a:spcPts val="1200"/>
              </a:spcBef>
            </a:pPr>
            <a:r>
              <a:rPr lang="en-US" sz="2400" dirty="0" err="1">
                <a:solidFill>
                  <a:schemeClr val="tx1"/>
                </a:solidFill>
                <a:latin typeface="+mj-lt"/>
              </a:rPr>
              <a:t>CanNotDelete</a:t>
            </a:r>
            <a:r>
              <a:rPr lang="en-US" sz="2400" dirty="0">
                <a:solidFill>
                  <a:schemeClr val="tx1"/>
                </a:solidFill>
                <a:latin typeface="+mj-lt"/>
              </a:rPr>
              <a:t> – </a:t>
            </a:r>
            <a:r>
              <a:rPr lang="en-US" sz="2400" dirty="0">
                <a:solidFill>
                  <a:schemeClr val="tx1"/>
                </a:solidFill>
              </a:rPr>
              <a:t>means authorized users can still read and modify a resource, but they can’t </a:t>
            </a:r>
            <a:r>
              <a:rPr lang="en-US" sz="2400" i="1" dirty="0">
                <a:solidFill>
                  <a:schemeClr val="tx1"/>
                </a:solidFill>
              </a:rPr>
              <a:t>delete</a:t>
            </a:r>
            <a:r>
              <a:rPr lang="en-US" sz="2400" dirty="0">
                <a:solidFill>
                  <a:schemeClr val="tx1"/>
                </a:solidFill>
              </a:rPr>
              <a:t> the resource</a:t>
            </a:r>
          </a:p>
          <a:p>
            <a:pPr defTabSz="1244600">
              <a:spcBef>
                <a:spcPts val="1200"/>
              </a:spcBef>
            </a:pPr>
            <a:r>
              <a:rPr lang="en-US" sz="2400" dirty="0" err="1">
                <a:solidFill>
                  <a:schemeClr val="tx1"/>
                </a:solidFill>
                <a:latin typeface="+mj-lt"/>
              </a:rPr>
              <a:t>ReadOnly</a:t>
            </a:r>
            <a:r>
              <a:rPr lang="en-US" sz="2400" dirty="0">
                <a:solidFill>
                  <a:schemeClr val="tx1"/>
                </a:solidFill>
                <a:latin typeface="+mj-lt"/>
              </a:rPr>
              <a:t> – </a:t>
            </a:r>
            <a:r>
              <a:rPr lang="en-US" sz="2400" dirty="0">
                <a:solidFill>
                  <a:schemeClr val="tx1"/>
                </a:solidFill>
              </a:rPr>
              <a:t>means authorized users can read a resource, but they can't delete or update it. Applying this lock is like restricting all authorized users to the permissions granted by the Reader role</a:t>
            </a:r>
          </a:p>
        </p:txBody>
      </p:sp>
      <p:pic>
        <p:nvPicPr>
          <p:cNvPr id="5" name="Picture 4" descr="Screenshot of Add lock with lock types Read-only and Delete">
            <a:extLst>
              <a:ext uri="{FF2B5EF4-FFF2-40B4-BE49-F238E27FC236}">
                <a16:creationId xmlns:a16="http://schemas.microsoft.com/office/drawing/2014/main" id="{E941C252-E844-47D7-8AFC-8D8DD65DCEDE}"/>
              </a:ext>
            </a:extLst>
          </p:cNvPr>
          <p:cNvPicPr>
            <a:picLocks noChangeAspect="1"/>
          </p:cNvPicPr>
          <p:nvPr/>
        </p:nvPicPr>
        <p:blipFill rotWithShape="1">
          <a:blip r:embed="rId3"/>
          <a:srcRect l="-3307" t="-3464" r="-3307" b="-3464"/>
          <a:stretch/>
        </p:blipFill>
        <p:spPr>
          <a:xfrm>
            <a:off x="7779658" y="1867809"/>
            <a:ext cx="4229780" cy="3892273"/>
          </a:xfrm>
          <a:prstGeom prst="rect">
            <a:avLst/>
          </a:prstGeom>
          <a:noFill/>
          <a:ln w="19050">
            <a:solidFill>
              <a:schemeClr val="tx2"/>
            </a:solidFill>
            <a:headEnd type="none" w="med" len="med"/>
            <a:tailEnd type="none" w="med" len="med"/>
          </a:ln>
          <a:effectLst/>
        </p:spPr>
      </p:pic>
      <p:sp>
        <p:nvSpPr>
          <p:cNvPr id="33" name="Rectangle 32">
            <a:extLst>
              <a:ext uri="{FF2B5EF4-FFF2-40B4-BE49-F238E27FC236}">
                <a16:creationId xmlns:a16="http://schemas.microsoft.com/office/drawing/2014/main" id="{7F0AB304-A449-48F1-A88B-0F1EB7A90DDE}"/>
              </a:ext>
            </a:extLst>
          </p:cNvPr>
          <p:cNvSpPr/>
          <p:nvPr/>
        </p:nvSpPr>
        <p:spPr>
          <a:xfrm>
            <a:off x="427037" y="5926414"/>
            <a:ext cx="11582401" cy="628796"/>
          </a:xfrm>
          <a:prstGeom prst="rect">
            <a:avLst/>
          </a:prstGeom>
          <a:solidFill>
            <a:schemeClr val="accent2">
              <a:lumMod val="75000"/>
            </a:schemeClr>
          </a:solidFill>
        </p:spPr>
        <p:txBody>
          <a:bodyPr wrap="square" lIns="182880" tIns="137160" rIns="182880" bIns="137160" anchor="ctr" anchorCtr="0">
            <a:noAutofit/>
          </a:bodyPr>
          <a:lstStyle/>
          <a:p>
            <a:r>
              <a:rPr lang="en-IE" sz="2000" dirty="0">
                <a:solidFill>
                  <a:schemeClr val="bg1"/>
                </a:solidFill>
              </a:rPr>
              <a:t>In the Azure portal, the locks are called </a:t>
            </a:r>
            <a:r>
              <a:rPr lang="en-IE" sz="2000" i="1" dirty="0">
                <a:solidFill>
                  <a:schemeClr val="bg1"/>
                </a:solidFill>
                <a:latin typeface="+mj-lt"/>
              </a:rPr>
              <a:t>Delete</a:t>
            </a:r>
            <a:r>
              <a:rPr lang="en-IE" sz="2000" dirty="0">
                <a:solidFill>
                  <a:schemeClr val="bg1"/>
                </a:solidFill>
              </a:rPr>
              <a:t> and </a:t>
            </a:r>
            <a:r>
              <a:rPr lang="en-IE" sz="2000" i="1" dirty="0">
                <a:solidFill>
                  <a:schemeClr val="bg1"/>
                </a:solidFill>
                <a:latin typeface="+mj-lt"/>
              </a:rPr>
              <a:t>Read-only </a:t>
            </a:r>
            <a:r>
              <a:rPr lang="en-IE" sz="2000" dirty="0">
                <a:solidFill>
                  <a:schemeClr val="bg1"/>
                </a:solidFill>
              </a:rPr>
              <a:t>respectively</a:t>
            </a:r>
            <a:endParaRPr lang="en-US" sz="2000" dirty="0">
              <a:solidFill>
                <a:schemeClr val="bg1"/>
              </a:solidFill>
            </a:endParaRPr>
          </a:p>
        </p:txBody>
      </p:sp>
    </p:spTree>
    <p:extLst>
      <p:ext uri="{BB962C8B-B14F-4D97-AF65-F5344CB8AC3E}">
        <p14:creationId xmlns:p14="http://schemas.microsoft.com/office/powerpoint/2010/main" val="23884823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51913-B7C1-4D16-9926-7B36BD404244}"/>
              </a:ext>
            </a:extLst>
          </p:cNvPr>
          <p:cNvSpPr>
            <a:spLocks noGrp="1"/>
          </p:cNvSpPr>
          <p:nvPr>
            <p:ph type="title"/>
          </p:nvPr>
        </p:nvSpPr>
        <p:spPr>
          <a:xfrm>
            <a:off x="427038" y="632779"/>
            <a:ext cx="11571287" cy="411162"/>
          </a:xfrm>
        </p:spPr>
        <p:txBody>
          <a:bodyPr/>
          <a:lstStyle/>
          <a:p>
            <a:r>
              <a:rPr lang="en-US" dirty="0"/>
              <a:t>Explore Azure Blueprints</a:t>
            </a:r>
          </a:p>
        </p:txBody>
      </p:sp>
      <p:pic>
        <p:nvPicPr>
          <p:cNvPr id="6" name="Picture 5" descr="Azure Blueprint icon">
            <a:extLst>
              <a:ext uri="{FF2B5EF4-FFF2-40B4-BE49-F238E27FC236}">
                <a16:creationId xmlns:a16="http://schemas.microsoft.com/office/drawing/2014/main" id="{ACFEABCB-DAB6-4157-B5DC-0082407C2F3B}"/>
              </a:ext>
            </a:extLst>
          </p:cNvPr>
          <p:cNvPicPr>
            <a:picLocks noChangeAspect="1"/>
          </p:cNvPicPr>
          <p:nvPr/>
        </p:nvPicPr>
        <p:blipFill>
          <a:blip r:embed="rId3"/>
          <a:stretch>
            <a:fillRect/>
          </a:stretch>
        </p:blipFill>
        <p:spPr>
          <a:xfrm>
            <a:off x="411229" y="1231123"/>
            <a:ext cx="952500" cy="952500"/>
          </a:xfrm>
          <a:prstGeom prst="rect">
            <a:avLst/>
          </a:prstGeom>
        </p:spPr>
      </p:pic>
      <p:sp>
        <p:nvSpPr>
          <p:cNvPr id="22" name="Rectangle 21">
            <a:extLst>
              <a:ext uri="{FF2B5EF4-FFF2-40B4-BE49-F238E27FC236}">
                <a16:creationId xmlns:a16="http://schemas.microsoft.com/office/drawing/2014/main" id="{3BE7D132-C66C-4798-9DEE-32052E0617E0}"/>
              </a:ext>
            </a:extLst>
          </p:cNvPr>
          <p:cNvSpPr/>
          <p:nvPr/>
        </p:nvSpPr>
        <p:spPr>
          <a:xfrm>
            <a:off x="1511300" y="1330040"/>
            <a:ext cx="10439400" cy="67710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r>
              <a:rPr lang="en-IE" sz="2200" dirty="0">
                <a:solidFill>
                  <a:schemeClr val="tx1"/>
                </a:solidFill>
                <a:latin typeface="+mj-lt"/>
              </a:rPr>
              <a:t>Allows for the definition of a repeatable set of Azure resources that implement and adhere to an organization’s standards, patterns, and requirements</a:t>
            </a:r>
            <a:endParaRPr lang="en-US" sz="2200" dirty="0">
              <a:solidFill>
                <a:schemeClr val="tx1"/>
              </a:solidFill>
              <a:latin typeface="+mj-lt"/>
            </a:endParaRPr>
          </a:p>
        </p:txBody>
      </p:sp>
      <p:sp>
        <p:nvSpPr>
          <p:cNvPr id="27" name="Rectangle 26">
            <a:extLst>
              <a:ext uri="{FF2B5EF4-FFF2-40B4-BE49-F238E27FC236}">
                <a16:creationId xmlns:a16="http://schemas.microsoft.com/office/drawing/2014/main" id="{243DF9AF-91C4-4F51-B54A-07CA32AA1BCC}"/>
              </a:ext>
            </a:extLst>
          </p:cNvPr>
          <p:cNvSpPr/>
          <p:nvPr/>
        </p:nvSpPr>
        <p:spPr>
          <a:xfrm>
            <a:off x="427038" y="2336798"/>
            <a:ext cx="5961061" cy="3426603"/>
          </a:xfrm>
          <a:prstGeom prst="rect">
            <a:avLst/>
          </a:prstGeom>
          <a:solidFill>
            <a:schemeClr val="bg1">
              <a:lumMod val="95000"/>
            </a:schemeClr>
          </a:solidFill>
          <a:ln w="190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defTabSz="1244600">
              <a:spcBef>
                <a:spcPts val="1200"/>
              </a:spcBef>
            </a:pPr>
            <a:r>
              <a:rPr lang="en-US" sz="2000" dirty="0">
                <a:solidFill>
                  <a:schemeClr val="tx1"/>
                </a:solidFill>
              </a:rPr>
              <a:t>Can ensure a deployment meets an organization’s standards, patterns, and requirements </a:t>
            </a:r>
          </a:p>
          <a:p>
            <a:pPr defTabSz="1244600">
              <a:spcBef>
                <a:spcPts val="1200"/>
              </a:spcBef>
            </a:pPr>
            <a:r>
              <a:rPr lang="en-US" sz="2000" dirty="0">
                <a:solidFill>
                  <a:schemeClr val="tx1"/>
                </a:solidFill>
              </a:rPr>
              <a:t>Is a declarative way to orchestrate deployment for various resource templates and other artifacts</a:t>
            </a:r>
            <a:endParaRPr lang="en-IN" sz="2000" dirty="0">
              <a:solidFill>
                <a:schemeClr val="tx1"/>
              </a:solidFill>
            </a:endParaRPr>
          </a:p>
          <a:p>
            <a:pPr defTabSz="1244600">
              <a:spcBef>
                <a:spcPts val="1200"/>
              </a:spcBef>
            </a:pPr>
            <a:r>
              <a:rPr lang="en-US" sz="2000" dirty="0">
                <a:solidFill>
                  <a:schemeClr val="tx1"/>
                </a:solidFill>
              </a:rPr>
              <a:t>Provides for traceability and auditing as well as adherence</a:t>
            </a:r>
            <a:endParaRPr lang="en-IN" sz="2000" dirty="0">
              <a:solidFill>
                <a:schemeClr val="tx1"/>
              </a:solidFill>
            </a:endParaRPr>
          </a:p>
        </p:txBody>
      </p:sp>
      <p:sp>
        <p:nvSpPr>
          <p:cNvPr id="23" name="Rectangle 22">
            <a:extLst>
              <a:ext uri="{FF2B5EF4-FFF2-40B4-BE49-F238E27FC236}">
                <a16:creationId xmlns:a16="http://schemas.microsoft.com/office/drawing/2014/main" id="{7DDE5B70-89AB-415C-95C1-CB3338565955}"/>
              </a:ext>
              <a:ext uri="{C183D7F6-B498-43B3-948B-1728B52AA6E4}">
                <adec:decorative xmlns:adec="http://schemas.microsoft.com/office/drawing/2017/decorative" val="0"/>
              </a:ext>
            </a:extLst>
          </p:cNvPr>
          <p:cNvSpPr/>
          <p:nvPr/>
        </p:nvSpPr>
        <p:spPr bwMode="auto">
          <a:xfrm>
            <a:off x="6520544" y="2336800"/>
            <a:ext cx="5488894" cy="3449404"/>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37160" rIns="182880" bIns="27432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304">
              <a:buSzPct val="90000"/>
            </a:pPr>
            <a:r>
              <a:rPr lang="en-US" sz="2000" dirty="0">
                <a:solidFill>
                  <a:schemeClr val="tx1"/>
                </a:solidFill>
                <a:cs typeface="Segoe UI Semilight" panose="020B0402040204020203" pitchFamily="34" charset="0"/>
              </a:rPr>
              <a:t>The blueprint definition (what should be deployed) and the blueprint assignment (what is deployed) supports improved deployment tracking and auditing</a:t>
            </a:r>
          </a:p>
        </p:txBody>
      </p:sp>
      <p:grpSp>
        <p:nvGrpSpPr>
          <p:cNvPr id="4" name="Group 3" descr="Flowchart with three steps, create an Azure blueprint, assign the blueprint, and track the blueprint assignments">
            <a:extLst>
              <a:ext uri="{FF2B5EF4-FFF2-40B4-BE49-F238E27FC236}">
                <a16:creationId xmlns:a16="http://schemas.microsoft.com/office/drawing/2014/main" id="{BA87BCD1-8FD6-45F2-99D8-4F8B2228EDD1}"/>
              </a:ext>
            </a:extLst>
          </p:cNvPr>
          <p:cNvGrpSpPr/>
          <p:nvPr/>
        </p:nvGrpSpPr>
        <p:grpSpPr>
          <a:xfrm>
            <a:off x="6684899" y="2468589"/>
            <a:ext cx="5160184" cy="1344278"/>
            <a:chOff x="6684899" y="2468589"/>
            <a:chExt cx="5160184" cy="1344278"/>
          </a:xfrm>
        </p:grpSpPr>
        <p:sp>
          <p:nvSpPr>
            <p:cNvPr id="35" name="Oval 34">
              <a:extLst>
                <a:ext uri="{FF2B5EF4-FFF2-40B4-BE49-F238E27FC236}">
                  <a16:creationId xmlns:a16="http://schemas.microsoft.com/office/drawing/2014/main" id="{06CC1965-B797-4201-9101-486F4DBFA84A}"/>
                </a:ext>
              </a:extLst>
            </p:cNvPr>
            <p:cNvSpPr/>
            <p:nvPr/>
          </p:nvSpPr>
          <p:spPr bwMode="auto">
            <a:xfrm>
              <a:off x="7492573" y="2468589"/>
              <a:ext cx="304800" cy="304800"/>
            </a:xfrm>
            <a:prstGeom prst="ellipse">
              <a:avLst/>
            </a:prstGeom>
            <a:solidFill>
              <a:schemeClr val="bg1"/>
            </a:solidFill>
            <a:ln w="1905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solidFill>
                    <a:srgbClr val="243A5E"/>
                  </a:solidFill>
                  <a:ea typeface="Segoe UI" pitchFamily="34" charset="0"/>
                  <a:cs typeface="Segoe UI" pitchFamily="34" charset="0"/>
                </a:rPr>
                <a:t>1</a:t>
              </a:r>
            </a:p>
          </p:txBody>
        </p:sp>
        <p:sp>
          <p:nvSpPr>
            <p:cNvPr id="43" name="Freeform: Shape 42">
              <a:extLst>
                <a:ext uri="{FF2B5EF4-FFF2-40B4-BE49-F238E27FC236}">
                  <a16:creationId xmlns:a16="http://schemas.microsoft.com/office/drawing/2014/main" id="{95B34AB8-F20D-4A8F-8040-CE6604FD76E9}"/>
                </a:ext>
              </a:extLst>
            </p:cNvPr>
            <p:cNvSpPr/>
            <p:nvPr/>
          </p:nvSpPr>
          <p:spPr bwMode="auto">
            <a:xfrm>
              <a:off x="6684899" y="2618381"/>
              <a:ext cx="1920148" cy="1194486"/>
            </a:xfrm>
            <a:custGeom>
              <a:avLst/>
              <a:gdLst>
                <a:gd name="connsiteX0" fmla="*/ 0 w 1920148"/>
                <a:gd name="connsiteY0" fmla="*/ 0 h 1194486"/>
                <a:gd name="connsiteX1" fmla="*/ 808201 w 1920148"/>
                <a:gd name="connsiteY1" fmla="*/ 0 h 1194486"/>
                <a:gd name="connsiteX2" fmla="*/ 807674 w 1920148"/>
                <a:gd name="connsiteY2" fmla="*/ 2608 h 1194486"/>
                <a:gd name="connsiteX3" fmla="*/ 960074 w 1920148"/>
                <a:gd name="connsiteY3" fmla="*/ 155008 h 1194486"/>
                <a:gd name="connsiteX4" fmla="*/ 1112474 w 1920148"/>
                <a:gd name="connsiteY4" fmla="*/ 2608 h 1194486"/>
                <a:gd name="connsiteX5" fmla="*/ 1111948 w 1920148"/>
                <a:gd name="connsiteY5" fmla="*/ 0 h 1194486"/>
                <a:gd name="connsiteX6" fmla="*/ 1551506 w 1920148"/>
                <a:gd name="connsiteY6" fmla="*/ 0 h 1194486"/>
                <a:gd name="connsiteX7" fmla="*/ 1920148 w 1920148"/>
                <a:gd name="connsiteY7" fmla="*/ 597243 h 1194486"/>
                <a:gd name="connsiteX8" fmla="*/ 1551506 w 1920148"/>
                <a:gd name="connsiteY8" fmla="*/ 1194486 h 1194486"/>
                <a:gd name="connsiteX9" fmla="*/ 0 w 1920148"/>
                <a:gd name="connsiteY9" fmla="*/ 1194486 h 119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0148" h="1194486">
                  <a:moveTo>
                    <a:pt x="0" y="0"/>
                  </a:moveTo>
                  <a:lnTo>
                    <a:pt x="808201" y="0"/>
                  </a:lnTo>
                  <a:lnTo>
                    <a:pt x="807674" y="2608"/>
                  </a:lnTo>
                  <a:cubicBezTo>
                    <a:pt x="807674" y="86776"/>
                    <a:pt x="875906" y="155008"/>
                    <a:pt x="960074" y="155008"/>
                  </a:cubicBezTo>
                  <a:cubicBezTo>
                    <a:pt x="1044242" y="155008"/>
                    <a:pt x="1112474" y="86776"/>
                    <a:pt x="1112474" y="2608"/>
                  </a:cubicBezTo>
                  <a:lnTo>
                    <a:pt x="1111948" y="0"/>
                  </a:lnTo>
                  <a:lnTo>
                    <a:pt x="1551506" y="0"/>
                  </a:lnTo>
                  <a:lnTo>
                    <a:pt x="1920148" y="597243"/>
                  </a:lnTo>
                  <a:lnTo>
                    <a:pt x="1551506" y="1194486"/>
                  </a:lnTo>
                  <a:lnTo>
                    <a:pt x="0" y="1194486"/>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18288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bg1"/>
                  </a:solidFill>
                  <a:ea typeface="Segoe UI" pitchFamily="34" charset="0"/>
                  <a:cs typeface="Segoe UI" pitchFamily="34" charset="0"/>
                </a:rPr>
                <a:t>Create an Azure blueprint</a:t>
              </a:r>
            </a:p>
          </p:txBody>
        </p:sp>
        <p:sp>
          <p:nvSpPr>
            <p:cNvPr id="56" name="Oval 55">
              <a:extLst>
                <a:ext uri="{FF2B5EF4-FFF2-40B4-BE49-F238E27FC236}">
                  <a16:creationId xmlns:a16="http://schemas.microsoft.com/office/drawing/2014/main" id="{B110C043-CBBE-4971-BD03-2B89C8B8BC7C}"/>
                </a:ext>
              </a:extLst>
            </p:cNvPr>
            <p:cNvSpPr/>
            <p:nvPr/>
          </p:nvSpPr>
          <p:spPr bwMode="auto">
            <a:xfrm>
              <a:off x="9112591" y="2468589"/>
              <a:ext cx="304800" cy="304800"/>
            </a:xfrm>
            <a:prstGeom prst="ellipse">
              <a:avLst/>
            </a:prstGeom>
            <a:solidFill>
              <a:schemeClr val="bg1"/>
            </a:solidFill>
            <a:ln w="1905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solidFill>
                    <a:srgbClr val="243A5E"/>
                  </a:solidFill>
                  <a:ea typeface="Segoe UI" pitchFamily="34" charset="0"/>
                  <a:cs typeface="Segoe UI" pitchFamily="34" charset="0"/>
                </a:rPr>
                <a:t>2</a:t>
              </a:r>
            </a:p>
          </p:txBody>
        </p:sp>
        <p:sp>
          <p:nvSpPr>
            <p:cNvPr id="61" name="Freeform: Shape 60">
              <a:extLst>
                <a:ext uri="{FF2B5EF4-FFF2-40B4-BE49-F238E27FC236}">
                  <a16:creationId xmlns:a16="http://schemas.microsoft.com/office/drawing/2014/main" id="{DA86F228-E6BA-4237-9DFE-5CA7B9C7DB3A}"/>
                </a:ext>
              </a:extLst>
            </p:cNvPr>
            <p:cNvSpPr/>
            <p:nvPr/>
          </p:nvSpPr>
          <p:spPr bwMode="auto">
            <a:xfrm>
              <a:off x="8304917" y="2618381"/>
              <a:ext cx="1920148" cy="1194486"/>
            </a:xfrm>
            <a:custGeom>
              <a:avLst/>
              <a:gdLst>
                <a:gd name="connsiteX0" fmla="*/ 0 w 1920148"/>
                <a:gd name="connsiteY0" fmla="*/ 0 h 1194486"/>
                <a:gd name="connsiteX1" fmla="*/ 808201 w 1920148"/>
                <a:gd name="connsiteY1" fmla="*/ 0 h 1194486"/>
                <a:gd name="connsiteX2" fmla="*/ 807674 w 1920148"/>
                <a:gd name="connsiteY2" fmla="*/ 2608 h 1194486"/>
                <a:gd name="connsiteX3" fmla="*/ 960074 w 1920148"/>
                <a:gd name="connsiteY3" fmla="*/ 155008 h 1194486"/>
                <a:gd name="connsiteX4" fmla="*/ 1112474 w 1920148"/>
                <a:gd name="connsiteY4" fmla="*/ 2608 h 1194486"/>
                <a:gd name="connsiteX5" fmla="*/ 1111947 w 1920148"/>
                <a:gd name="connsiteY5" fmla="*/ 0 h 1194486"/>
                <a:gd name="connsiteX6" fmla="*/ 1539214 w 1920148"/>
                <a:gd name="connsiteY6" fmla="*/ 0 h 1194486"/>
                <a:gd name="connsiteX7" fmla="*/ 1920148 w 1920148"/>
                <a:gd name="connsiteY7" fmla="*/ 597243 h 1194486"/>
                <a:gd name="connsiteX8" fmla="*/ 1539214 w 1920148"/>
                <a:gd name="connsiteY8" fmla="*/ 1194486 h 1194486"/>
                <a:gd name="connsiteX9" fmla="*/ 0 w 1920148"/>
                <a:gd name="connsiteY9" fmla="*/ 1194486 h 1194486"/>
                <a:gd name="connsiteX10" fmla="*/ 380934 w 1920148"/>
                <a:gd name="connsiteY10" fmla="*/ 597243 h 119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0148" h="1194486">
                  <a:moveTo>
                    <a:pt x="0" y="0"/>
                  </a:moveTo>
                  <a:lnTo>
                    <a:pt x="808201" y="0"/>
                  </a:lnTo>
                  <a:lnTo>
                    <a:pt x="807674" y="2608"/>
                  </a:lnTo>
                  <a:cubicBezTo>
                    <a:pt x="807674" y="86776"/>
                    <a:pt x="875906" y="155008"/>
                    <a:pt x="960074" y="155008"/>
                  </a:cubicBezTo>
                  <a:cubicBezTo>
                    <a:pt x="1044242" y="155008"/>
                    <a:pt x="1112474" y="86776"/>
                    <a:pt x="1112474" y="2608"/>
                  </a:cubicBezTo>
                  <a:lnTo>
                    <a:pt x="1111947" y="0"/>
                  </a:lnTo>
                  <a:lnTo>
                    <a:pt x="1539214" y="0"/>
                  </a:lnTo>
                  <a:lnTo>
                    <a:pt x="1920148" y="597243"/>
                  </a:lnTo>
                  <a:lnTo>
                    <a:pt x="1539214" y="1194486"/>
                  </a:lnTo>
                  <a:lnTo>
                    <a:pt x="0" y="1194486"/>
                  </a:lnTo>
                  <a:lnTo>
                    <a:pt x="380934" y="597243"/>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bg1"/>
                  </a:solidFill>
                  <a:ea typeface="Segoe UI" pitchFamily="34" charset="0"/>
                  <a:cs typeface="Segoe UI" pitchFamily="34" charset="0"/>
                </a:rPr>
                <a:t>Assign the</a:t>
              </a:r>
              <a:br>
                <a:rPr lang="en-IN" sz="1600" dirty="0">
                  <a:solidFill>
                    <a:schemeClr val="bg1"/>
                  </a:solidFill>
                  <a:ea typeface="Segoe UI" pitchFamily="34" charset="0"/>
                  <a:cs typeface="Segoe UI" pitchFamily="34" charset="0"/>
                </a:rPr>
              </a:br>
              <a:r>
                <a:rPr lang="en-IN" sz="1600" dirty="0">
                  <a:solidFill>
                    <a:schemeClr val="bg1"/>
                  </a:solidFill>
                  <a:ea typeface="Segoe UI" pitchFamily="34" charset="0"/>
                  <a:cs typeface="Segoe UI" pitchFamily="34" charset="0"/>
                </a:rPr>
                <a:t>blueprint</a:t>
              </a:r>
            </a:p>
          </p:txBody>
        </p:sp>
        <p:sp>
          <p:nvSpPr>
            <p:cNvPr id="64" name="Oval 63">
              <a:extLst>
                <a:ext uri="{FF2B5EF4-FFF2-40B4-BE49-F238E27FC236}">
                  <a16:creationId xmlns:a16="http://schemas.microsoft.com/office/drawing/2014/main" id="{5B532E76-2310-4BD4-917D-21A29A38F13B}"/>
                </a:ext>
              </a:extLst>
            </p:cNvPr>
            <p:cNvSpPr/>
            <p:nvPr/>
          </p:nvSpPr>
          <p:spPr bwMode="auto">
            <a:xfrm>
              <a:off x="10732609" y="2468589"/>
              <a:ext cx="304800" cy="304800"/>
            </a:xfrm>
            <a:prstGeom prst="ellipse">
              <a:avLst/>
            </a:prstGeom>
            <a:solidFill>
              <a:schemeClr val="bg1"/>
            </a:solidFill>
            <a:ln w="1905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600" b="1">
                  <a:solidFill>
                    <a:srgbClr val="243A5E"/>
                  </a:solidFill>
                  <a:ea typeface="Segoe UI" pitchFamily="34" charset="0"/>
                  <a:cs typeface="Segoe UI" pitchFamily="34" charset="0"/>
                </a:rPr>
                <a:t>3</a:t>
              </a:r>
            </a:p>
          </p:txBody>
        </p:sp>
        <p:sp>
          <p:nvSpPr>
            <p:cNvPr id="67" name="Freeform: Shape 66">
              <a:extLst>
                <a:ext uri="{FF2B5EF4-FFF2-40B4-BE49-F238E27FC236}">
                  <a16:creationId xmlns:a16="http://schemas.microsoft.com/office/drawing/2014/main" id="{CC94F586-8215-47C1-B234-F8E2C6BEA8B7}"/>
                </a:ext>
              </a:extLst>
            </p:cNvPr>
            <p:cNvSpPr/>
            <p:nvPr/>
          </p:nvSpPr>
          <p:spPr bwMode="auto">
            <a:xfrm>
              <a:off x="9924935" y="2618381"/>
              <a:ext cx="1920148" cy="1194486"/>
            </a:xfrm>
            <a:custGeom>
              <a:avLst/>
              <a:gdLst>
                <a:gd name="connsiteX0" fmla="*/ 0 w 1920148"/>
                <a:gd name="connsiteY0" fmla="*/ 0 h 1194486"/>
                <a:gd name="connsiteX1" fmla="*/ 808201 w 1920148"/>
                <a:gd name="connsiteY1" fmla="*/ 0 h 1194486"/>
                <a:gd name="connsiteX2" fmla="*/ 807674 w 1920148"/>
                <a:gd name="connsiteY2" fmla="*/ 2608 h 1194486"/>
                <a:gd name="connsiteX3" fmla="*/ 960074 w 1920148"/>
                <a:gd name="connsiteY3" fmla="*/ 155008 h 1194486"/>
                <a:gd name="connsiteX4" fmla="*/ 1112474 w 1920148"/>
                <a:gd name="connsiteY4" fmla="*/ 2608 h 1194486"/>
                <a:gd name="connsiteX5" fmla="*/ 1111947 w 1920148"/>
                <a:gd name="connsiteY5" fmla="*/ 0 h 1194486"/>
                <a:gd name="connsiteX6" fmla="*/ 1539214 w 1920148"/>
                <a:gd name="connsiteY6" fmla="*/ 0 h 1194486"/>
                <a:gd name="connsiteX7" fmla="*/ 1920148 w 1920148"/>
                <a:gd name="connsiteY7" fmla="*/ 597243 h 1194486"/>
                <a:gd name="connsiteX8" fmla="*/ 1539214 w 1920148"/>
                <a:gd name="connsiteY8" fmla="*/ 1194486 h 1194486"/>
                <a:gd name="connsiteX9" fmla="*/ 0 w 1920148"/>
                <a:gd name="connsiteY9" fmla="*/ 1194486 h 1194486"/>
                <a:gd name="connsiteX10" fmla="*/ 380934 w 1920148"/>
                <a:gd name="connsiteY10" fmla="*/ 597243 h 119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0148" h="1194486">
                  <a:moveTo>
                    <a:pt x="0" y="0"/>
                  </a:moveTo>
                  <a:lnTo>
                    <a:pt x="808201" y="0"/>
                  </a:lnTo>
                  <a:lnTo>
                    <a:pt x="807674" y="2608"/>
                  </a:lnTo>
                  <a:cubicBezTo>
                    <a:pt x="807674" y="86776"/>
                    <a:pt x="875906" y="155008"/>
                    <a:pt x="960074" y="155008"/>
                  </a:cubicBezTo>
                  <a:cubicBezTo>
                    <a:pt x="1044242" y="155008"/>
                    <a:pt x="1112474" y="86776"/>
                    <a:pt x="1112474" y="2608"/>
                  </a:cubicBezTo>
                  <a:lnTo>
                    <a:pt x="1111947" y="0"/>
                  </a:lnTo>
                  <a:lnTo>
                    <a:pt x="1539214" y="0"/>
                  </a:lnTo>
                  <a:lnTo>
                    <a:pt x="1920148" y="597243"/>
                  </a:lnTo>
                  <a:lnTo>
                    <a:pt x="1539214" y="1194486"/>
                  </a:lnTo>
                  <a:lnTo>
                    <a:pt x="0" y="1194486"/>
                  </a:lnTo>
                  <a:lnTo>
                    <a:pt x="380934" y="597243"/>
                  </a:lnTo>
                  <a:close/>
                </a:path>
              </a:pathLst>
            </a:cu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bg1"/>
                  </a:solidFill>
                  <a:ea typeface="Segoe UI" pitchFamily="34" charset="0"/>
                  <a:cs typeface="Segoe UI" pitchFamily="34" charset="0"/>
                </a:rPr>
                <a:t>Track the</a:t>
              </a:r>
              <a:br>
                <a:rPr lang="en-IN" sz="1600" dirty="0">
                  <a:solidFill>
                    <a:schemeClr val="bg1"/>
                  </a:solidFill>
                  <a:ea typeface="Segoe UI" pitchFamily="34" charset="0"/>
                  <a:cs typeface="Segoe UI" pitchFamily="34" charset="0"/>
                </a:rPr>
              </a:br>
              <a:r>
                <a:rPr lang="en-IN" sz="1600" dirty="0">
                  <a:solidFill>
                    <a:schemeClr val="bg1"/>
                  </a:solidFill>
                  <a:ea typeface="Segoe UI" pitchFamily="34" charset="0"/>
                  <a:cs typeface="Segoe UI" pitchFamily="34" charset="0"/>
                </a:rPr>
                <a:t>blueprint assignments</a:t>
              </a:r>
            </a:p>
          </p:txBody>
        </p:sp>
      </p:grpSp>
      <p:sp>
        <p:nvSpPr>
          <p:cNvPr id="69" name="Rectangle 68">
            <a:extLst>
              <a:ext uri="{FF2B5EF4-FFF2-40B4-BE49-F238E27FC236}">
                <a16:creationId xmlns:a16="http://schemas.microsoft.com/office/drawing/2014/main" id="{F7483AA8-954C-414E-B962-EB0144FC6AE3}"/>
              </a:ext>
            </a:extLst>
          </p:cNvPr>
          <p:cNvSpPr/>
          <p:nvPr/>
        </p:nvSpPr>
        <p:spPr>
          <a:xfrm>
            <a:off x="427039" y="5906125"/>
            <a:ext cx="11582400" cy="639138"/>
          </a:xfrm>
          <a:prstGeom prst="rect">
            <a:avLst/>
          </a:prstGeom>
          <a:solidFill>
            <a:schemeClr val="accent2">
              <a:lumMod val="75000"/>
            </a:schemeClr>
          </a:solidFill>
        </p:spPr>
        <p:txBody>
          <a:bodyPr wrap="square" lIns="182880" tIns="137160" rIns="182880" bIns="137160" anchor="ctr" anchorCtr="0">
            <a:noAutofit/>
          </a:bodyPr>
          <a:lstStyle/>
          <a:p>
            <a:r>
              <a:rPr lang="en-IE" sz="2000" dirty="0">
                <a:solidFill>
                  <a:schemeClr val="bg1"/>
                </a:solidFill>
                <a:latin typeface="+mj-lt"/>
              </a:rPr>
              <a:t>Discussion: </a:t>
            </a:r>
            <a:r>
              <a:rPr lang="en-IE" sz="2000" dirty="0">
                <a:solidFill>
                  <a:schemeClr val="bg1"/>
                </a:solidFill>
              </a:rPr>
              <a:t>How do Azure Blueprint policies differ from templates?</a:t>
            </a:r>
            <a:endParaRPr lang="en-US" sz="2000" dirty="0">
              <a:solidFill>
                <a:schemeClr val="bg1"/>
              </a:solidFill>
            </a:endParaRPr>
          </a:p>
        </p:txBody>
      </p:sp>
    </p:spTree>
    <p:extLst>
      <p:ext uri="{BB962C8B-B14F-4D97-AF65-F5344CB8AC3E}">
        <p14:creationId xmlns:p14="http://schemas.microsoft.com/office/powerpoint/2010/main" val="4676964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15563-0CCF-4B2D-8D8F-A21F45DF323B}"/>
              </a:ext>
            </a:extLst>
          </p:cNvPr>
          <p:cNvSpPr>
            <a:spLocks noGrp="1"/>
          </p:cNvSpPr>
          <p:nvPr>
            <p:ph type="title"/>
          </p:nvPr>
        </p:nvSpPr>
        <p:spPr>
          <a:xfrm>
            <a:off x="427038" y="632779"/>
            <a:ext cx="11571287" cy="411162"/>
          </a:xfrm>
        </p:spPr>
        <p:txBody>
          <a:bodyPr/>
          <a:lstStyle/>
          <a:p>
            <a:r>
              <a:rPr lang="en-US" dirty="0"/>
              <a:t>Understand Microsoft Defender for Identity</a:t>
            </a:r>
          </a:p>
        </p:txBody>
      </p:sp>
      <p:sp>
        <p:nvSpPr>
          <p:cNvPr id="7" name="Rectangle 6">
            <a:extLst>
              <a:ext uri="{FF2B5EF4-FFF2-40B4-BE49-F238E27FC236}">
                <a16:creationId xmlns:a16="http://schemas.microsoft.com/office/drawing/2014/main" id="{682D1EA7-3A19-4AAB-A067-833F8648E116}"/>
              </a:ext>
            </a:extLst>
          </p:cNvPr>
          <p:cNvSpPr/>
          <p:nvPr/>
        </p:nvSpPr>
        <p:spPr>
          <a:xfrm>
            <a:off x="465138" y="1213919"/>
            <a:ext cx="11523662" cy="73866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r>
              <a:rPr lang="en-US" sz="2400" dirty="0">
                <a:solidFill>
                  <a:schemeClr val="tx1"/>
                </a:solidFill>
                <a:latin typeface="+mj-lt"/>
              </a:rPr>
              <a:t>Identifies, detects, and helps you investigate advanced threats, compromised identities, and malicious insider actions</a:t>
            </a:r>
          </a:p>
        </p:txBody>
      </p:sp>
      <p:sp>
        <p:nvSpPr>
          <p:cNvPr id="16" name="Rectangle 15">
            <a:extLst>
              <a:ext uri="{FF2B5EF4-FFF2-40B4-BE49-F238E27FC236}">
                <a16:creationId xmlns:a16="http://schemas.microsoft.com/office/drawing/2014/main" id="{2BEA2DD9-540D-4CA3-8667-2FA93CDF63D0}"/>
              </a:ext>
            </a:extLst>
          </p:cNvPr>
          <p:cNvSpPr/>
          <p:nvPr/>
        </p:nvSpPr>
        <p:spPr>
          <a:xfrm>
            <a:off x="444501" y="2058539"/>
            <a:ext cx="3814678" cy="4550309"/>
          </a:xfrm>
          <a:prstGeom prst="rect">
            <a:avLst/>
          </a:prstGeom>
          <a:solidFill>
            <a:schemeClr val="bg1">
              <a:lumMod val="95000"/>
            </a:schemeClr>
          </a:solidFill>
          <a:ln w="19050">
            <a:solidFill>
              <a:schemeClr val="bg1">
                <a:lumMod val="9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pPr lvl="0" defTabSz="1244600">
              <a:spcBef>
                <a:spcPts val="1200"/>
              </a:spcBef>
            </a:pPr>
            <a:r>
              <a:rPr lang="en-US" sz="2000" dirty="0">
                <a:solidFill>
                  <a:schemeClr val="tx1"/>
                </a:solidFill>
              </a:rPr>
              <a:t>Microsoft Defender </a:t>
            </a:r>
            <a:r>
              <a:rPr lang="en-US" sz="2000" dirty="0">
                <a:solidFill>
                  <a:schemeClr val="tx1"/>
                </a:solidFill>
                <a:latin typeface="Segoe UI Semibold" panose="020B0702040204020203" pitchFamily="34" charset="0"/>
                <a:cs typeface="Segoe UI Semibold" panose="020B0702040204020203" pitchFamily="34" charset="0"/>
              </a:rPr>
              <a:t>portal</a:t>
            </a:r>
            <a:r>
              <a:rPr lang="en-US" sz="2000" dirty="0">
                <a:solidFill>
                  <a:schemeClr val="tx1"/>
                </a:solidFill>
              </a:rPr>
              <a:t> monitors and responds to suspicious activity</a:t>
            </a:r>
          </a:p>
          <a:p>
            <a:pPr lvl="0" defTabSz="1244600">
              <a:spcBef>
                <a:spcPts val="1200"/>
              </a:spcBef>
            </a:pPr>
            <a:r>
              <a:rPr lang="en-US" sz="2000" dirty="0">
                <a:solidFill>
                  <a:schemeClr val="tx1"/>
                </a:solidFill>
              </a:rPr>
              <a:t>Microsoft Defender </a:t>
            </a:r>
            <a:r>
              <a:rPr lang="en-US" sz="2000" dirty="0">
                <a:solidFill>
                  <a:schemeClr val="tx1"/>
                </a:solidFill>
                <a:latin typeface="Segoe UI Semibold" panose="020B0702040204020203" pitchFamily="34" charset="0"/>
                <a:cs typeface="Segoe UI Semibold" panose="020B0702040204020203" pitchFamily="34" charset="0"/>
              </a:rPr>
              <a:t>sensor</a:t>
            </a:r>
            <a:r>
              <a:rPr lang="en-US" sz="2000" dirty="0">
                <a:solidFill>
                  <a:schemeClr val="tx1"/>
                </a:solidFill>
              </a:rPr>
              <a:t> monitors domain controller traffic</a:t>
            </a:r>
            <a:endParaRPr lang="en-IN" sz="2000" dirty="0">
              <a:solidFill>
                <a:schemeClr val="tx1"/>
              </a:solidFill>
            </a:endParaRPr>
          </a:p>
          <a:p>
            <a:pPr lvl="0" defTabSz="1244600">
              <a:spcBef>
                <a:spcPts val="1200"/>
              </a:spcBef>
            </a:pPr>
            <a:r>
              <a:rPr lang="en-US" sz="2000" dirty="0">
                <a:solidFill>
                  <a:schemeClr val="tx1"/>
                </a:solidFill>
              </a:rPr>
              <a:t>Microsoft Defender </a:t>
            </a:r>
            <a:r>
              <a:rPr lang="en-US" sz="2000" dirty="0">
                <a:solidFill>
                  <a:schemeClr val="tx1"/>
                </a:solidFill>
                <a:latin typeface="Segoe UI Semibold" panose="020B0702040204020203" pitchFamily="34" charset="0"/>
                <a:cs typeface="Segoe UI Semibold" panose="020B0702040204020203" pitchFamily="34" charset="0"/>
              </a:rPr>
              <a:t>cloud service </a:t>
            </a:r>
            <a:r>
              <a:rPr lang="en-US" sz="2000" dirty="0">
                <a:solidFill>
                  <a:schemeClr val="tx1"/>
                </a:solidFill>
              </a:rPr>
              <a:t>connects to Microsoft Intelligent Security Graph</a:t>
            </a:r>
            <a:endParaRPr lang="en-IN" sz="2000" dirty="0">
              <a:solidFill>
                <a:schemeClr val="tx1"/>
              </a:solidFill>
            </a:endParaRPr>
          </a:p>
        </p:txBody>
      </p:sp>
      <p:pic>
        <p:nvPicPr>
          <p:cNvPr id="4" name="Picture 3" descr="Graphical user interface, text, application&#10;&#10;Description automatically generated">
            <a:extLst>
              <a:ext uri="{FF2B5EF4-FFF2-40B4-BE49-F238E27FC236}">
                <a16:creationId xmlns:a16="http://schemas.microsoft.com/office/drawing/2014/main" id="{66D6D9AF-010C-4F67-A252-7AF06092D5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7120" y="2058539"/>
            <a:ext cx="7629662" cy="4380331"/>
          </a:xfrm>
          <a:prstGeom prst="rect">
            <a:avLst/>
          </a:prstGeom>
        </p:spPr>
      </p:pic>
    </p:spTree>
    <p:extLst>
      <p:ext uri="{BB962C8B-B14F-4D97-AF65-F5344CB8AC3E}">
        <p14:creationId xmlns:p14="http://schemas.microsoft.com/office/powerpoint/2010/main" val="35459143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Labs</a:t>
            </a:r>
          </a:p>
        </p:txBody>
      </p:sp>
      <p:pic>
        <p:nvPicPr>
          <p:cNvPr id="3" name="Picture 2" descr="Icon of a lab flask">
            <a:extLst>
              <a:ext uri="{FF2B5EF4-FFF2-40B4-BE49-F238E27FC236}">
                <a16:creationId xmlns:a16="http://schemas.microsoft.com/office/drawing/2014/main" id="{14BDE604-2A3F-41C3-8FBD-F988B4CCEB83}"/>
              </a:ext>
            </a:extLst>
          </p:cNvPr>
          <p:cNvPicPr>
            <a:picLocks noChangeAspect="1"/>
          </p:cNvPicPr>
          <p:nvPr/>
        </p:nvPicPr>
        <p:blipFill>
          <a:blip r:embed="rId3"/>
          <a:stretch>
            <a:fillRect/>
          </a:stretch>
        </p:blipFill>
        <p:spPr>
          <a:xfrm>
            <a:off x="10496804" y="2897172"/>
            <a:ext cx="825246" cy="1200180"/>
          </a:xfrm>
          <a:prstGeom prst="rect">
            <a:avLst/>
          </a:prstGeom>
        </p:spPr>
      </p:pic>
    </p:spTree>
    <p:extLst>
      <p:ext uri="{BB962C8B-B14F-4D97-AF65-F5344CB8AC3E}">
        <p14:creationId xmlns:p14="http://schemas.microsoft.com/office/powerpoint/2010/main" val="330844146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65138" y="567457"/>
            <a:ext cx="11530584" cy="830020"/>
          </a:xfrm>
        </p:spPr>
        <p:txBody>
          <a:bodyPr/>
          <a:lstStyle/>
          <a:p>
            <a:r>
              <a:rPr lang="en-IE" dirty="0"/>
              <a:t>Lab: Implement security and compliance in Azure Pipelines </a:t>
            </a:r>
            <a:endParaRPr lang="en-US" dirty="0"/>
          </a:p>
        </p:txBody>
      </p:sp>
      <p:sp>
        <p:nvSpPr>
          <p:cNvPr id="6" name="Text Placeholder 5"/>
          <p:cNvSpPr>
            <a:spLocks noGrp="1"/>
          </p:cNvSpPr>
          <p:nvPr>
            <p:ph type="body" sz="quarter" idx="11"/>
          </p:nvPr>
        </p:nvSpPr>
        <p:spPr>
          <a:xfrm>
            <a:off x="1600200" y="1485899"/>
            <a:ext cx="10409238" cy="2101850"/>
          </a:xfrm>
        </p:spPr>
        <p:txBody>
          <a:bodyPr/>
          <a:lstStyle/>
          <a:p>
            <a:pPr lvl="1"/>
            <a:r>
              <a:rPr lang="en-US" dirty="0"/>
              <a:t>Lab overview:</a:t>
            </a:r>
          </a:p>
          <a:p>
            <a:pPr lvl="1"/>
            <a:r>
              <a:rPr lang="en-US" sz="2000" dirty="0"/>
              <a:t>In this lab, we will create a new Azure DevOps project, populate the project repository with a sample application code, create a build pipeline. Next, we will install Mend Bolt from the Azure DevOps Marketplace to make it available as a build task, activate it, add it to the build pipeline, use it to scan the project code for security vulnerabilities and licensing compliance issues, and finally view the resulting report.</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xfrm>
            <a:off x="441325" y="3657604"/>
            <a:ext cx="5543550" cy="2810992"/>
          </a:xfrm>
        </p:spPr>
        <p:txBody>
          <a:bodyPr/>
          <a:lstStyle/>
          <a:p>
            <a:r>
              <a:rPr lang="en-US" dirty="0"/>
              <a:t>Objectives:</a:t>
            </a:r>
          </a:p>
          <a:p>
            <a:pPr marL="342900" indent="-342900">
              <a:buFont typeface="Arial" panose="020B0604020202020204" pitchFamily="34" charset="0"/>
              <a:buChar char="•"/>
            </a:pPr>
            <a:r>
              <a:rPr lang="en-US" sz="2000" dirty="0"/>
              <a:t>Create a Build pipeline</a:t>
            </a:r>
          </a:p>
          <a:p>
            <a:pPr marL="342900" indent="-342900">
              <a:buFont typeface="Arial" panose="020B0604020202020204" pitchFamily="34" charset="0"/>
              <a:buChar char="•"/>
            </a:pPr>
            <a:r>
              <a:rPr lang="en-US" sz="2000" dirty="0"/>
              <a:t>Install Mend Bolt from the Azure DevOps marketplace and activate it</a:t>
            </a:r>
          </a:p>
          <a:p>
            <a:pPr marL="342900" indent="-342900">
              <a:buFont typeface="Arial" panose="020B0604020202020204" pitchFamily="34" charset="0"/>
              <a:buChar char="•"/>
            </a:pPr>
            <a:r>
              <a:rPr lang="en-US" sz="2000" dirty="0"/>
              <a:t>Add Mend Bolt as a build task in a build pipeline</a:t>
            </a:r>
          </a:p>
          <a:p>
            <a:pPr marL="342900" indent="-342900">
              <a:buFont typeface="Arial" panose="020B0604020202020204" pitchFamily="34" charset="0"/>
              <a:buChar char="•"/>
            </a:pPr>
            <a:r>
              <a:rPr lang="en-US" sz="2000" dirty="0"/>
              <a:t>Run build pipeline and view Mend security and compliance report</a:t>
            </a:r>
          </a:p>
        </p:txBody>
      </p:sp>
      <p:sp>
        <p:nvSpPr>
          <p:cNvPr id="19" name="Text Placeholder 18">
            <a:extLst>
              <a:ext uri="{FF2B5EF4-FFF2-40B4-BE49-F238E27FC236}">
                <a16:creationId xmlns:a16="http://schemas.microsoft.com/office/drawing/2014/main" id="{E3059D41-9728-4B58-9237-CADB42E287FB}"/>
              </a:ext>
            </a:extLst>
          </p:cNvPr>
          <p:cNvSpPr>
            <a:spLocks noGrp="1"/>
          </p:cNvSpPr>
          <p:nvPr>
            <p:ph type="body" sz="quarter" idx="17"/>
          </p:nvPr>
        </p:nvSpPr>
        <p:spPr>
          <a:xfrm>
            <a:off x="6464672" y="3657770"/>
            <a:ext cx="5544766" cy="2810825"/>
          </a:xfrm>
        </p:spPr>
        <p:txBody>
          <a:bodyPr/>
          <a:lstStyle/>
          <a:p>
            <a:r>
              <a:rPr lang="en-US" dirty="0"/>
              <a:t>Duration:</a:t>
            </a:r>
          </a:p>
        </p:txBody>
      </p:sp>
      <p:grpSp>
        <p:nvGrpSpPr>
          <p:cNvPr id="22" name="Group 21" descr="Icon of a bulb">
            <a:extLst>
              <a:ext uri="{FF2B5EF4-FFF2-40B4-BE49-F238E27FC236}">
                <a16:creationId xmlns:a16="http://schemas.microsoft.com/office/drawing/2014/main" id="{532636F5-FEE9-4794-A28F-4B991A3E3012}"/>
              </a:ext>
            </a:extLst>
          </p:cNvPr>
          <p:cNvGrpSpPr/>
          <p:nvPr/>
        </p:nvGrpSpPr>
        <p:grpSpPr>
          <a:xfrm>
            <a:off x="427859" y="1485899"/>
            <a:ext cx="914269" cy="914398"/>
            <a:chOff x="3031669" y="4181240"/>
            <a:chExt cx="702132" cy="702231"/>
          </a:xfrm>
        </p:grpSpPr>
        <p:grpSp>
          <p:nvGrpSpPr>
            <p:cNvPr id="23" name="Group 22">
              <a:extLst>
                <a:ext uri="{FF2B5EF4-FFF2-40B4-BE49-F238E27FC236}">
                  <a16:creationId xmlns:a16="http://schemas.microsoft.com/office/drawing/2014/main" id="{4968E878-80EC-45B0-90F5-557E321293C7}"/>
                </a:ext>
                <a:ext uri="{C183D7F6-B498-43B3-948B-1728B52AA6E4}">
                  <adec:decorative xmlns:adec="http://schemas.microsoft.com/office/drawing/2017/decorative" val="1"/>
                </a:ext>
              </a:extLst>
            </p:cNvPr>
            <p:cNvGrpSpPr/>
            <p:nvPr/>
          </p:nvGrpSpPr>
          <p:grpSpPr>
            <a:xfrm>
              <a:off x="3031669" y="4181240"/>
              <a:ext cx="702132" cy="702231"/>
              <a:chOff x="7962901" y="3032919"/>
              <a:chExt cx="981074" cy="981076"/>
            </a:xfrm>
          </p:grpSpPr>
          <p:sp>
            <p:nvSpPr>
              <p:cNvPr id="25" name="Freeform 5">
                <a:extLst>
                  <a:ext uri="{FF2B5EF4-FFF2-40B4-BE49-F238E27FC236}">
                    <a16:creationId xmlns:a16="http://schemas.microsoft.com/office/drawing/2014/main" id="{27C23F06-B917-4EB8-9B2F-B33416B6EBA5}"/>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a:p>
            </p:txBody>
          </p:sp>
          <p:sp>
            <p:nvSpPr>
              <p:cNvPr id="26" name="Freeform 6">
                <a:extLst>
                  <a:ext uri="{FF2B5EF4-FFF2-40B4-BE49-F238E27FC236}">
                    <a16:creationId xmlns:a16="http://schemas.microsoft.com/office/drawing/2014/main" id="{383D5909-A731-4FF6-8FE2-656861218C16}"/>
                  </a:ext>
                </a:extLst>
              </p:cNvPr>
              <p:cNvSpPr>
                <a:spLocks noEditPoints="1"/>
              </p:cNvSpPr>
              <p:nvPr/>
            </p:nvSpPr>
            <p:spPr bwMode="auto">
              <a:xfrm>
                <a:off x="8031163" y="3102770"/>
                <a:ext cx="846137" cy="844550"/>
              </a:xfrm>
              <a:prstGeom prst="ellipse">
                <a:avLst/>
              </a:prstGeom>
              <a:noFill/>
              <a:ln w="28575">
                <a:solidFill>
                  <a:schemeClr val="tx2"/>
                </a:solidFill>
                <a:prstDash val="sysDot"/>
                <a:round/>
                <a:headEnd/>
                <a:tailEnd/>
              </a:ln>
            </p:spPr>
            <p:txBody>
              <a:bodyPr vert="horz" wrap="square" lIns="93260" tIns="46630" rIns="93260" bIns="46630" numCol="1" anchor="t" anchorCtr="0" compatLnSpc="1">
                <a:prstTxWarp prst="textNoShape">
                  <a:avLst/>
                </a:prstTxWarp>
              </a:bodyPr>
              <a:lstStyle/>
              <a:p>
                <a:endParaRPr lang="en-US" sz="1764"/>
              </a:p>
            </p:txBody>
          </p:sp>
        </p:grpSp>
        <p:pic>
          <p:nvPicPr>
            <p:cNvPr id="24" name="Picture 23" descr="Icon of a bulb">
              <a:extLst>
                <a:ext uri="{FF2B5EF4-FFF2-40B4-BE49-F238E27FC236}">
                  <a16:creationId xmlns:a16="http://schemas.microsoft.com/office/drawing/2014/main" id="{8CEED23D-F446-4B18-9872-F167497CCB50}"/>
                </a:ext>
              </a:extLst>
            </p:cNvPr>
            <p:cNvPicPr>
              <a:picLocks noChangeAspect="1"/>
            </p:cNvPicPr>
            <p:nvPr/>
          </p:nvPicPr>
          <p:blipFill>
            <a:blip r:embed="rId3"/>
            <a:stretch>
              <a:fillRect/>
            </a:stretch>
          </p:blipFill>
          <p:spPr>
            <a:xfrm>
              <a:off x="3248883" y="4346193"/>
              <a:ext cx="267705" cy="372325"/>
            </a:xfrm>
            <a:prstGeom prst="rect">
              <a:avLst/>
            </a:prstGeom>
          </p:spPr>
        </p:pic>
      </p:grpSp>
      <p:graphicFrame>
        <p:nvGraphicFramePr>
          <p:cNvPr id="4" name="!!timer" descr="Pie chart indicating that students have 45 minutes (out of 60 minutes total) to complete the lab.">
            <a:extLst>
              <a:ext uri="{FF2B5EF4-FFF2-40B4-BE49-F238E27FC236}">
                <a16:creationId xmlns:a16="http://schemas.microsoft.com/office/drawing/2014/main" id="{C9185D39-4EAA-4D92-A08E-1EDDF1A983D1}"/>
              </a:ext>
            </a:extLst>
          </p:cNvPr>
          <p:cNvGraphicFramePr/>
          <p:nvPr>
            <p:extLst>
              <p:ext uri="{D42A27DB-BD31-4B8C-83A1-F6EECF244321}">
                <p14:modId xmlns:p14="http://schemas.microsoft.com/office/powerpoint/2010/main" val="3220482882"/>
              </p:ext>
            </p:extLst>
          </p:nvPr>
        </p:nvGraphicFramePr>
        <p:xfrm>
          <a:off x="7723403" y="4113412"/>
          <a:ext cx="3027304" cy="20182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9029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65138" y="567457"/>
            <a:ext cx="11530584" cy="830020"/>
          </a:xfrm>
        </p:spPr>
        <p:txBody>
          <a:bodyPr/>
          <a:lstStyle/>
          <a:p>
            <a:r>
              <a:rPr lang="en-AU" dirty="0"/>
              <a:t>Lab: Managing technical debt with SonarQube and Azure DevOps</a:t>
            </a:r>
            <a:endParaRPr lang="en-US" dirty="0"/>
          </a:p>
        </p:txBody>
      </p:sp>
      <p:sp>
        <p:nvSpPr>
          <p:cNvPr id="6" name="Text Placeholder 5"/>
          <p:cNvSpPr>
            <a:spLocks noGrp="1"/>
          </p:cNvSpPr>
          <p:nvPr>
            <p:ph type="body" sz="quarter" idx="11"/>
          </p:nvPr>
        </p:nvSpPr>
        <p:spPr>
          <a:xfrm>
            <a:off x="1600200" y="1485899"/>
            <a:ext cx="10409238" cy="914400"/>
          </a:xfrm>
        </p:spPr>
        <p:txBody>
          <a:bodyPr/>
          <a:lstStyle/>
          <a:p>
            <a:pPr lvl="1"/>
            <a:r>
              <a:rPr lang="en-US" dirty="0"/>
              <a:t>Lab overview:</a:t>
            </a:r>
          </a:p>
          <a:p>
            <a:pPr lvl="1"/>
            <a:r>
              <a:rPr lang="en-US" dirty="0"/>
              <a:t>In this lab, you will learn how to setup SonarQube on Azure and integrate it with Azure DevOps.</a:t>
            </a:r>
          </a:p>
        </p:txBody>
      </p:sp>
      <p:sp>
        <p:nvSpPr>
          <p:cNvPr id="16" name="Text Placeholder 15">
            <a:extLst>
              <a:ext uri="{FF2B5EF4-FFF2-40B4-BE49-F238E27FC236}">
                <a16:creationId xmlns:a16="http://schemas.microsoft.com/office/drawing/2014/main" id="{2723EE74-D03B-43E6-8DA4-03A69A4F70CE}"/>
              </a:ext>
            </a:extLst>
          </p:cNvPr>
          <p:cNvSpPr>
            <a:spLocks noGrp="1"/>
          </p:cNvSpPr>
          <p:nvPr>
            <p:ph type="body" sz="quarter" idx="16"/>
          </p:nvPr>
        </p:nvSpPr>
        <p:spPr>
          <a:xfrm>
            <a:off x="441325" y="3587749"/>
            <a:ext cx="5543550" cy="2540677"/>
          </a:xfrm>
        </p:spPr>
        <p:txBody>
          <a:bodyPr/>
          <a:lstStyle/>
          <a:p>
            <a:r>
              <a:rPr lang="en-US" dirty="0"/>
              <a:t>Objectives:</a:t>
            </a:r>
          </a:p>
          <a:p>
            <a:pPr marL="285750" indent="-285750">
              <a:buFont typeface="Arial" panose="020B0604020202020204" pitchFamily="34" charset="0"/>
              <a:buChar char="•"/>
            </a:pPr>
            <a:r>
              <a:rPr lang="en-US" sz="1800" dirty="0"/>
              <a:t>Provision SonarQube server as an </a:t>
            </a:r>
            <a:r>
              <a:rPr lang="en-US" sz="1800" dirty="0">
                <a:hlinkClick r:id="rId3"/>
              </a:rPr>
              <a:t>Azure Container Instance</a:t>
            </a:r>
            <a:r>
              <a:rPr lang="en-US" sz="1800" dirty="0"/>
              <a:t> from the SonarQube Docker image </a:t>
            </a:r>
          </a:p>
          <a:p>
            <a:pPr marL="285750" indent="-285750">
              <a:buFont typeface="Arial" panose="020B0604020202020204" pitchFamily="34" charset="0"/>
              <a:buChar char="•"/>
            </a:pPr>
            <a:r>
              <a:rPr lang="en-US" sz="1800" dirty="0"/>
              <a:t>Set up a SonarQube project</a:t>
            </a:r>
          </a:p>
          <a:p>
            <a:pPr marL="285750" indent="-285750">
              <a:buFont typeface="Arial" panose="020B0604020202020204" pitchFamily="34" charset="0"/>
              <a:buChar char="•"/>
            </a:pPr>
            <a:r>
              <a:rPr lang="en-US" sz="1800" dirty="0"/>
              <a:t>Provision an Azure DevOps Project and configure CI pipeline to integrate with SonarQube</a:t>
            </a:r>
          </a:p>
          <a:p>
            <a:pPr marL="285750" indent="-285750">
              <a:buFont typeface="Arial" panose="020B0604020202020204" pitchFamily="34" charset="0"/>
              <a:buChar char="•"/>
            </a:pPr>
            <a:r>
              <a:rPr lang="en-US" sz="1800" dirty="0"/>
              <a:t>Analyze SonarQube reports</a:t>
            </a:r>
          </a:p>
        </p:txBody>
      </p:sp>
      <p:sp>
        <p:nvSpPr>
          <p:cNvPr id="19" name="Text Placeholder 18">
            <a:extLst>
              <a:ext uri="{FF2B5EF4-FFF2-40B4-BE49-F238E27FC236}">
                <a16:creationId xmlns:a16="http://schemas.microsoft.com/office/drawing/2014/main" id="{E3059D41-9728-4B58-9237-CADB42E287FB}"/>
              </a:ext>
            </a:extLst>
          </p:cNvPr>
          <p:cNvSpPr>
            <a:spLocks noGrp="1"/>
          </p:cNvSpPr>
          <p:nvPr>
            <p:ph type="body" sz="quarter" idx="17"/>
          </p:nvPr>
        </p:nvSpPr>
        <p:spPr>
          <a:xfrm>
            <a:off x="6464672" y="3587932"/>
            <a:ext cx="5544766" cy="2540494"/>
          </a:xfrm>
        </p:spPr>
        <p:txBody>
          <a:bodyPr/>
          <a:lstStyle/>
          <a:p>
            <a:r>
              <a:rPr lang="en-US" dirty="0"/>
              <a:t>Duration:</a:t>
            </a:r>
          </a:p>
        </p:txBody>
      </p:sp>
      <p:grpSp>
        <p:nvGrpSpPr>
          <p:cNvPr id="22" name="Group 21" descr="Icon of a bulb">
            <a:extLst>
              <a:ext uri="{FF2B5EF4-FFF2-40B4-BE49-F238E27FC236}">
                <a16:creationId xmlns:a16="http://schemas.microsoft.com/office/drawing/2014/main" id="{532636F5-FEE9-4794-A28F-4B991A3E3012}"/>
              </a:ext>
            </a:extLst>
          </p:cNvPr>
          <p:cNvGrpSpPr/>
          <p:nvPr/>
        </p:nvGrpSpPr>
        <p:grpSpPr>
          <a:xfrm>
            <a:off x="427859" y="1485899"/>
            <a:ext cx="914269" cy="914398"/>
            <a:chOff x="3031669" y="4181240"/>
            <a:chExt cx="702132" cy="702231"/>
          </a:xfrm>
        </p:grpSpPr>
        <p:grpSp>
          <p:nvGrpSpPr>
            <p:cNvPr id="23" name="Group 22">
              <a:extLst>
                <a:ext uri="{FF2B5EF4-FFF2-40B4-BE49-F238E27FC236}">
                  <a16:creationId xmlns:a16="http://schemas.microsoft.com/office/drawing/2014/main" id="{4968E878-80EC-45B0-90F5-557E321293C7}"/>
                </a:ext>
                <a:ext uri="{C183D7F6-B498-43B3-948B-1728B52AA6E4}">
                  <adec:decorative xmlns:adec="http://schemas.microsoft.com/office/drawing/2017/decorative" val="1"/>
                </a:ext>
              </a:extLst>
            </p:cNvPr>
            <p:cNvGrpSpPr/>
            <p:nvPr/>
          </p:nvGrpSpPr>
          <p:grpSpPr>
            <a:xfrm>
              <a:off x="3031669" y="4181240"/>
              <a:ext cx="702132" cy="702231"/>
              <a:chOff x="7962901" y="3032919"/>
              <a:chExt cx="981074" cy="981076"/>
            </a:xfrm>
          </p:grpSpPr>
          <p:sp>
            <p:nvSpPr>
              <p:cNvPr id="25" name="Freeform 5">
                <a:extLst>
                  <a:ext uri="{FF2B5EF4-FFF2-40B4-BE49-F238E27FC236}">
                    <a16:creationId xmlns:a16="http://schemas.microsoft.com/office/drawing/2014/main" id="{27C23F06-B917-4EB8-9B2F-B33416B6EBA5}"/>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764"/>
              </a:p>
            </p:txBody>
          </p:sp>
          <p:sp>
            <p:nvSpPr>
              <p:cNvPr id="26" name="Freeform 6">
                <a:extLst>
                  <a:ext uri="{FF2B5EF4-FFF2-40B4-BE49-F238E27FC236}">
                    <a16:creationId xmlns:a16="http://schemas.microsoft.com/office/drawing/2014/main" id="{383D5909-A731-4FF6-8FE2-656861218C16}"/>
                  </a:ext>
                </a:extLst>
              </p:cNvPr>
              <p:cNvSpPr>
                <a:spLocks noEditPoints="1"/>
              </p:cNvSpPr>
              <p:nvPr/>
            </p:nvSpPr>
            <p:spPr bwMode="auto">
              <a:xfrm>
                <a:off x="8031163" y="3102770"/>
                <a:ext cx="846137" cy="844550"/>
              </a:xfrm>
              <a:prstGeom prst="ellipse">
                <a:avLst/>
              </a:prstGeom>
              <a:noFill/>
              <a:ln w="28575">
                <a:solidFill>
                  <a:schemeClr val="tx2"/>
                </a:solidFill>
                <a:prstDash val="sysDot"/>
                <a:round/>
                <a:headEnd/>
                <a:tailEnd/>
              </a:ln>
            </p:spPr>
            <p:txBody>
              <a:bodyPr vert="horz" wrap="square" lIns="93260" tIns="46630" rIns="93260" bIns="46630" numCol="1" anchor="t" anchorCtr="0" compatLnSpc="1">
                <a:prstTxWarp prst="textNoShape">
                  <a:avLst/>
                </a:prstTxWarp>
              </a:bodyPr>
              <a:lstStyle/>
              <a:p>
                <a:endParaRPr lang="en-US" sz="1764"/>
              </a:p>
            </p:txBody>
          </p:sp>
        </p:grpSp>
        <p:pic>
          <p:nvPicPr>
            <p:cNvPr id="24" name="Picture 23" descr="Icon of a bulb">
              <a:extLst>
                <a:ext uri="{FF2B5EF4-FFF2-40B4-BE49-F238E27FC236}">
                  <a16:creationId xmlns:a16="http://schemas.microsoft.com/office/drawing/2014/main" id="{8CEED23D-F446-4B18-9872-F167497CCB50}"/>
                </a:ext>
              </a:extLst>
            </p:cNvPr>
            <p:cNvPicPr>
              <a:picLocks noChangeAspect="1"/>
            </p:cNvPicPr>
            <p:nvPr/>
          </p:nvPicPr>
          <p:blipFill>
            <a:blip r:embed="rId4"/>
            <a:stretch>
              <a:fillRect/>
            </a:stretch>
          </p:blipFill>
          <p:spPr>
            <a:xfrm>
              <a:off x="3248883" y="4346193"/>
              <a:ext cx="267705" cy="372325"/>
            </a:xfrm>
            <a:prstGeom prst="rect">
              <a:avLst/>
            </a:prstGeom>
          </p:spPr>
        </p:pic>
      </p:grpSp>
      <p:graphicFrame>
        <p:nvGraphicFramePr>
          <p:cNvPr id="4" name="!!timer" descr="Pie chart indicating that students have 45 minutes (out of 60 minutes total) to complete the lab.">
            <a:extLst>
              <a:ext uri="{FF2B5EF4-FFF2-40B4-BE49-F238E27FC236}">
                <a16:creationId xmlns:a16="http://schemas.microsoft.com/office/drawing/2014/main" id="{C9185D39-4EAA-4D92-A08E-1EDDF1A983D1}"/>
              </a:ext>
            </a:extLst>
          </p:cNvPr>
          <p:cNvGraphicFramePr/>
          <p:nvPr/>
        </p:nvGraphicFramePr>
        <p:xfrm>
          <a:off x="7723403" y="3848985"/>
          <a:ext cx="3027304" cy="20182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2165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Module 01: Introduction to Secure DevOps</a:t>
            </a:r>
          </a:p>
        </p:txBody>
      </p:sp>
      <p:pic>
        <p:nvPicPr>
          <p:cNvPr id="3" name="Picture 2" descr="Icon of a security lock">
            <a:extLst>
              <a:ext uri="{FF2B5EF4-FFF2-40B4-BE49-F238E27FC236}">
                <a16:creationId xmlns:a16="http://schemas.microsoft.com/office/drawing/2014/main" id="{39793AD2-B905-411F-B4AD-42ABE5548646}"/>
              </a:ext>
            </a:extLst>
          </p:cNvPr>
          <p:cNvPicPr>
            <a:picLocks noChangeAspect="1"/>
          </p:cNvPicPr>
          <p:nvPr/>
        </p:nvPicPr>
        <p:blipFill>
          <a:blip r:embed="rId3"/>
          <a:stretch>
            <a:fillRect/>
          </a:stretch>
        </p:blipFill>
        <p:spPr>
          <a:xfrm>
            <a:off x="10503254" y="2998490"/>
            <a:ext cx="787046" cy="1327744"/>
          </a:xfrm>
          <a:prstGeom prst="rect">
            <a:avLst/>
          </a:prstGeom>
        </p:spPr>
      </p:pic>
    </p:spTree>
    <p:extLst>
      <p:ext uri="{BB962C8B-B14F-4D97-AF65-F5344CB8AC3E}">
        <p14:creationId xmlns:p14="http://schemas.microsoft.com/office/powerpoint/2010/main" val="262478556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7039" y="3275663"/>
            <a:ext cx="9240836" cy="443198"/>
          </a:xfrm>
        </p:spPr>
        <p:txBody>
          <a:bodyPr/>
          <a:lstStyle/>
          <a:p>
            <a:r>
              <a:rPr lang="en-US" dirty="0"/>
              <a:t>Learning Path review and takeaways</a:t>
            </a:r>
          </a:p>
        </p:txBody>
      </p:sp>
      <p:pic>
        <p:nvPicPr>
          <p:cNvPr id="3" name="Picture 2" descr="Icon of a document with a checkmark">
            <a:extLst>
              <a:ext uri="{FF2B5EF4-FFF2-40B4-BE49-F238E27FC236}">
                <a16:creationId xmlns:a16="http://schemas.microsoft.com/office/drawing/2014/main" id="{E6D6BA52-8F3B-4DFE-AA03-92D957E08574}"/>
              </a:ext>
            </a:extLst>
          </p:cNvPr>
          <p:cNvPicPr>
            <a:picLocks noChangeAspect="1"/>
          </p:cNvPicPr>
          <p:nvPr/>
        </p:nvPicPr>
        <p:blipFill>
          <a:blip r:embed="rId3"/>
          <a:stretch>
            <a:fillRect/>
          </a:stretch>
        </p:blipFill>
        <p:spPr>
          <a:xfrm>
            <a:off x="10508343" y="2966891"/>
            <a:ext cx="762722" cy="1109245"/>
          </a:xfrm>
          <a:prstGeom prst="rect">
            <a:avLst/>
          </a:prstGeom>
        </p:spPr>
      </p:pic>
    </p:spTree>
    <p:extLst>
      <p:ext uri="{BB962C8B-B14F-4D97-AF65-F5344CB8AC3E}">
        <p14:creationId xmlns:p14="http://schemas.microsoft.com/office/powerpoint/2010/main" val="341229823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59BF1-DFBD-478C-ACA3-333D99FCFEDF}"/>
              </a:ext>
            </a:extLst>
          </p:cNvPr>
          <p:cNvSpPr>
            <a:spLocks noGrp="1"/>
          </p:cNvSpPr>
          <p:nvPr>
            <p:ph type="title"/>
          </p:nvPr>
        </p:nvSpPr>
        <p:spPr>
          <a:xfrm>
            <a:off x="427038" y="632779"/>
            <a:ext cx="11571287" cy="411162"/>
          </a:xfrm>
        </p:spPr>
        <p:txBody>
          <a:bodyPr/>
          <a:lstStyle/>
          <a:p>
            <a:r>
              <a:rPr lang="en-US" dirty="0"/>
              <a:t>What did you learn?</a:t>
            </a:r>
          </a:p>
        </p:txBody>
      </p:sp>
      <p:pic>
        <p:nvPicPr>
          <p:cNvPr id="3" name="Picture 2" descr="Icon of a hollow circle">
            <a:extLst>
              <a:ext uri="{FF2B5EF4-FFF2-40B4-BE49-F238E27FC236}">
                <a16:creationId xmlns:a16="http://schemas.microsoft.com/office/drawing/2014/main" id="{9AD38B0A-2C06-4317-B2AF-17EE47C6BE3A}"/>
              </a:ext>
            </a:extLst>
          </p:cNvPr>
          <p:cNvPicPr>
            <a:picLocks noChangeAspect="1"/>
          </p:cNvPicPr>
          <p:nvPr/>
        </p:nvPicPr>
        <p:blipFill>
          <a:blip r:embed="rId2"/>
          <a:stretch>
            <a:fillRect/>
          </a:stretch>
        </p:blipFill>
        <p:spPr>
          <a:xfrm>
            <a:off x="427038" y="2861965"/>
            <a:ext cx="630936" cy="632460"/>
          </a:xfrm>
          <a:prstGeom prst="rect">
            <a:avLst/>
          </a:prstGeom>
        </p:spPr>
      </p:pic>
      <p:sp>
        <p:nvSpPr>
          <p:cNvPr id="4" name="Rectangle 3">
            <a:extLst>
              <a:ext uri="{FF2B5EF4-FFF2-40B4-BE49-F238E27FC236}">
                <a16:creationId xmlns:a16="http://schemas.microsoft.com/office/drawing/2014/main" id="{669563AC-16F7-42F0-9667-DE39853D8D27}"/>
              </a:ext>
            </a:extLst>
          </p:cNvPr>
          <p:cNvSpPr>
            <a:spLocks/>
          </p:cNvSpPr>
          <p:nvPr/>
        </p:nvSpPr>
        <p:spPr>
          <a:xfrm>
            <a:off x="1245765" y="3056142"/>
            <a:ext cx="10707688" cy="244106"/>
          </a:xfrm>
          <a:prstGeom prst="rect">
            <a:avLst/>
          </a:prstGeom>
        </p:spPr>
        <p:txBody>
          <a:bodyPr wrap="square" lIns="0" tIns="0" rIns="0" bIns="0">
            <a:spAutoFit/>
          </a:bodyPr>
          <a:lstStyle/>
          <a:p>
            <a:pPr>
              <a:lnSpc>
                <a:spcPct val="107000"/>
              </a:lnSpc>
            </a:pPr>
            <a:r>
              <a:rPr lang="en-US" sz="1600" dirty="0"/>
              <a:t>Describe the potential challenges with integrating open-source software</a:t>
            </a:r>
          </a:p>
        </p:txBody>
      </p:sp>
      <p:cxnSp>
        <p:nvCxnSpPr>
          <p:cNvPr id="5" name="Straight Connector 4">
            <a:extLst>
              <a:ext uri="{FF2B5EF4-FFF2-40B4-BE49-F238E27FC236}">
                <a16:creationId xmlns:a16="http://schemas.microsoft.com/office/drawing/2014/main" id="{0D17D648-6359-460E-B34B-6741AFCC4744}"/>
              </a:ext>
              <a:ext uri="{C183D7F6-B498-43B3-948B-1728B52AA6E4}">
                <adec:decorative xmlns:adec="http://schemas.microsoft.com/office/drawing/2017/decorative" val="1"/>
              </a:ext>
            </a:extLst>
          </p:cNvPr>
          <p:cNvCxnSpPr>
            <a:cxnSpLocks/>
          </p:cNvCxnSpPr>
          <p:nvPr/>
        </p:nvCxnSpPr>
        <p:spPr>
          <a:xfrm>
            <a:off x="1245765" y="3549236"/>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Icon of three circles and aligned to three lines">
            <a:extLst>
              <a:ext uri="{FF2B5EF4-FFF2-40B4-BE49-F238E27FC236}">
                <a16:creationId xmlns:a16="http://schemas.microsoft.com/office/drawing/2014/main" id="{CC9AC080-DA33-4888-928B-3F751CD26E20}"/>
              </a:ext>
            </a:extLst>
          </p:cNvPr>
          <p:cNvPicPr>
            <a:picLocks noChangeAspect="1"/>
          </p:cNvPicPr>
          <p:nvPr/>
        </p:nvPicPr>
        <p:blipFill>
          <a:blip r:embed="rId3"/>
          <a:stretch>
            <a:fillRect/>
          </a:stretch>
        </p:blipFill>
        <p:spPr>
          <a:xfrm>
            <a:off x="427038" y="3604047"/>
            <a:ext cx="630936" cy="630936"/>
          </a:xfrm>
          <a:prstGeom prst="rect">
            <a:avLst/>
          </a:prstGeom>
        </p:spPr>
      </p:pic>
      <p:sp>
        <p:nvSpPr>
          <p:cNvPr id="11" name="Rectangle 10">
            <a:extLst>
              <a:ext uri="{FF2B5EF4-FFF2-40B4-BE49-F238E27FC236}">
                <a16:creationId xmlns:a16="http://schemas.microsoft.com/office/drawing/2014/main" id="{E682AD94-B9D4-4DFB-AAC0-DC0DA51AFE6E}"/>
              </a:ext>
            </a:extLst>
          </p:cNvPr>
          <p:cNvSpPr>
            <a:spLocks/>
          </p:cNvSpPr>
          <p:nvPr/>
        </p:nvSpPr>
        <p:spPr>
          <a:xfrm>
            <a:off x="1245764" y="3797082"/>
            <a:ext cx="6775829" cy="244106"/>
          </a:xfrm>
          <a:prstGeom prst="rect">
            <a:avLst/>
          </a:prstGeom>
        </p:spPr>
        <p:txBody>
          <a:bodyPr wrap="none" lIns="0" tIns="0" rIns="0" bIns="0">
            <a:spAutoFit/>
          </a:bodyPr>
          <a:lstStyle/>
          <a:p>
            <a:pPr>
              <a:lnSpc>
                <a:spcPct val="107000"/>
              </a:lnSpc>
            </a:pPr>
            <a:r>
              <a:rPr lang="en-US" sz="1600" dirty="0"/>
              <a:t>Inspect open-source software packages for security and license compliance</a:t>
            </a:r>
          </a:p>
        </p:txBody>
      </p:sp>
      <p:cxnSp>
        <p:nvCxnSpPr>
          <p:cNvPr id="15" name="Straight Connector 14">
            <a:extLst>
              <a:ext uri="{FF2B5EF4-FFF2-40B4-BE49-F238E27FC236}">
                <a16:creationId xmlns:a16="http://schemas.microsoft.com/office/drawing/2014/main" id="{633468BD-5046-4C29-A7DE-AB3A9D285309}"/>
              </a:ext>
              <a:ext uri="{C183D7F6-B498-43B3-948B-1728B52AA6E4}">
                <adec:decorative xmlns:adec="http://schemas.microsoft.com/office/drawing/2017/decorative" val="1"/>
              </a:ext>
            </a:extLst>
          </p:cNvPr>
          <p:cNvCxnSpPr>
            <a:cxnSpLocks/>
          </p:cNvCxnSpPr>
          <p:nvPr/>
        </p:nvCxnSpPr>
        <p:spPr>
          <a:xfrm>
            <a:off x="1245765" y="4289794"/>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Icon of a gear inside a circle">
            <a:extLst>
              <a:ext uri="{FF2B5EF4-FFF2-40B4-BE49-F238E27FC236}">
                <a16:creationId xmlns:a16="http://schemas.microsoft.com/office/drawing/2014/main" id="{15478E77-4B3A-4DD8-ABF7-4574BB173054}"/>
              </a:ext>
            </a:extLst>
          </p:cNvPr>
          <p:cNvPicPr>
            <a:picLocks noChangeAspect="1"/>
          </p:cNvPicPr>
          <p:nvPr/>
        </p:nvPicPr>
        <p:blipFill>
          <a:blip r:embed="rId4"/>
          <a:stretch>
            <a:fillRect/>
          </a:stretch>
        </p:blipFill>
        <p:spPr>
          <a:xfrm>
            <a:off x="427038" y="4344605"/>
            <a:ext cx="630936" cy="630936"/>
          </a:xfrm>
          <a:prstGeom prst="rect">
            <a:avLst/>
          </a:prstGeom>
        </p:spPr>
      </p:pic>
      <p:sp>
        <p:nvSpPr>
          <p:cNvPr id="23" name="Rectangle 22">
            <a:extLst>
              <a:ext uri="{FF2B5EF4-FFF2-40B4-BE49-F238E27FC236}">
                <a16:creationId xmlns:a16="http://schemas.microsoft.com/office/drawing/2014/main" id="{F5C64F0E-1FB2-469D-9B12-E02349B93BCC}"/>
              </a:ext>
            </a:extLst>
          </p:cNvPr>
          <p:cNvSpPr>
            <a:spLocks/>
          </p:cNvSpPr>
          <p:nvPr/>
        </p:nvSpPr>
        <p:spPr>
          <a:xfrm>
            <a:off x="1245764" y="4538022"/>
            <a:ext cx="5045164" cy="244106"/>
          </a:xfrm>
          <a:prstGeom prst="rect">
            <a:avLst/>
          </a:prstGeom>
        </p:spPr>
        <p:txBody>
          <a:bodyPr wrap="none" lIns="0" tIns="0" rIns="0" bIns="0">
            <a:spAutoFit/>
          </a:bodyPr>
          <a:lstStyle/>
          <a:p>
            <a:pPr>
              <a:lnSpc>
                <a:spcPct val="107000"/>
              </a:lnSpc>
            </a:pPr>
            <a:r>
              <a:rPr lang="en-AU" sz="1600" dirty="0"/>
              <a:t>Manage organizational security and compliance policies</a:t>
            </a:r>
            <a:endParaRPr lang="en-US" sz="1600" dirty="0"/>
          </a:p>
        </p:txBody>
      </p:sp>
      <p:cxnSp>
        <p:nvCxnSpPr>
          <p:cNvPr id="25" name="Straight Connector 24">
            <a:extLst>
              <a:ext uri="{FF2B5EF4-FFF2-40B4-BE49-F238E27FC236}">
                <a16:creationId xmlns:a16="http://schemas.microsoft.com/office/drawing/2014/main" id="{4EF2A9BA-C404-4353-BCDD-CCC3B48A4629}"/>
              </a:ext>
              <a:ext uri="{C183D7F6-B498-43B3-948B-1728B52AA6E4}">
                <adec:decorative xmlns:adec="http://schemas.microsoft.com/office/drawing/2017/decorative" val="1"/>
              </a:ext>
            </a:extLst>
          </p:cNvPr>
          <p:cNvCxnSpPr>
            <a:cxnSpLocks/>
          </p:cNvCxnSpPr>
          <p:nvPr/>
        </p:nvCxnSpPr>
        <p:spPr>
          <a:xfrm>
            <a:off x="1245765" y="5030352"/>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27" name="Picture 26" descr="Icon of a closed and open bracket">
            <a:extLst>
              <a:ext uri="{FF2B5EF4-FFF2-40B4-BE49-F238E27FC236}">
                <a16:creationId xmlns:a16="http://schemas.microsoft.com/office/drawing/2014/main" id="{033A2FA4-2871-45DA-9B8B-5470EFBE0C93}"/>
              </a:ext>
            </a:extLst>
          </p:cNvPr>
          <p:cNvPicPr>
            <a:picLocks noChangeAspect="1"/>
          </p:cNvPicPr>
          <p:nvPr/>
        </p:nvPicPr>
        <p:blipFill>
          <a:blip r:embed="rId5"/>
          <a:stretch>
            <a:fillRect/>
          </a:stretch>
        </p:blipFill>
        <p:spPr>
          <a:xfrm>
            <a:off x="427038" y="5085163"/>
            <a:ext cx="630936" cy="632460"/>
          </a:xfrm>
          <a:prstGeom prst="rect">
            <a:avLst/>
          </a:prstGeom>
        </p:spPr>
      </p:pic>
      <p:sp>
        <p:nvSpPr>
          <p:cNvPr id="29" name="Rectangle 28">
            <a:extLst>
              <a:ext uri="{FF2B5EF4-FFF2-40B4-BE49-F238E27FC236}">
                <a16:creationId xmlns:a16="http://schemas.microsoft.com/office/drawing/2014/main" id="{6AC64FEE-5D34-45E2-B3E5-D9EE39AE34D6}"/>
              </a:ext>
            </a:extLst>
          </p:cNvPr>
          <p:cNvSpPr>
            <a:spLocks/>
          </p:cNvSpPr>
          <p:nvPr/>
        </p:nvSpPr>
        <p:spPr>
          <a:xfrm>
            <a:off x="1245764" y="5278962"/>
            <a:ext cx="6897722" cy="244106"/>
          </a:xfrm>
          <a:prstGeom prst="rect">
            <a:avLst/>
          </a:prstGeom>
        </p:spPr>
        <p:txBody>
          <a:bodyPr wrap="none" lIns="0" tIns="0" rIns="0" bIns="0">
            <a:spAutoFit/>
          </a:bodyPr>
          <a:lstStyle/>
          <a:p>
            <a:pPr>
              <a:lnSpc>
                <a:spcPct val="107000"/>
              </a:lnSpc>
            </a:pPr>
            <a:r>
              <a:rPr lang="en-AU" sz="1600" dirty="0"/>
              <a:t>Integrate license and vulnerability scans into build and deployment pipelines</a:t>
            </a:r>
            <a:endParaRPr lang="en-US" sz="1600" dirty="0"/>
          </a:p>
        </p:txBody>
      </p:sp>
      <p:cxnSp>
        <p:nvCxnSpPr>
          <p:cNvPr id="31" name="Straight Connector 30">
            <a:extLst>
              <a:ext uri="{FF2B5EF4-FFF2-40B4-BE49-F238E27FC236}">
                <a16:creationId xmlns:a16="http://schemas.microsoft.com/office/drawing/2014/main" id="{665A1789-A91C-46B6-910C-A75BF6223B98}"/>
              </a:ext>
              <a:ext uri="{C183D7F6-B498-43B3-948B-1728B52AA6E4}">
                <adec:decorative xmlns:adec="http://schemas.microsoft.com/office/drawing/2017/decorative" val="1"/>
              </a:ext>
            </a:extLst>
          </p:cNvPr>
          <p:cNvCxnSpPr>
            <a:cxnSpLocks/>
          </p:cNvCxnSpPr>
          <p:nvPr/>
        </p:nvCxnSpPr>
        <p:spPr>
          <a:xfrm>
            <a:off x="1245765" y="5772434"/>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3" name="Picture 32" descr="Icon of a lightning bolt symbol inside a circle">
            <a:extLst>
              <a:ext uri="{FF2B5EF4-FFF2-40B4-BE49-F238E27FC236}">
                <a16:creationId xmlns:a16="http://schemas.microsoft.com/office/drawing/2014/main" id="{68357020-392A-4238-A81D-F93C33429FB8}"/>
              </a:ext>
            </a:extLst>
          </p:cNvPr>
          <p:cNvPicPr>
            <a:picLocks noChangeAspect="1"/>
          </p:cNvPicPr>
          <p:nvPr/>
        </p:nvPicPr>
        <p:blipFill>
          <a:blip r:embed="rId6"/>
          <a:srcRect l="591" t="591" r="591" b="591"/>
          <a:stretch>
            <a:fillRect/>
          </a:stretch>
        </p:blipFill>
        <p:spPr>
          <a:xfrm>
            <a:off x="427038" y="5827245"/>
            <a:ext cx="630936" cy="630936"/>
          </a:xfrm>
          <a:custGeom>
            <a:avLst/>
            <a:gdLst>
              <a:gd name="connsiteX0" fmla="*/ 315468 w 630936"/>
              <a:gd name="connsiteY0" fmla="*/ 0 h 630936"/>
              <a:gd name="connsiteX1" fmla="*/ 630936 w 630936"/>
              <a:gd name="connsiteY1" fmla="*/ 315468 h 630936"/>
              <a:gd name="connsiteX2" fmla="*/ 315468 w 630936"/>
              <a:gd name="connsiteY2" fmla="*/ 630936 h 630936"/>
              <a:gd name="connsiteX3" fmla="*/ 0 w 630936"/>
              <a:gd name="connsiteY3" fmla="*/ 315468 h 630936"/>
              <a:gd name="connsiteX4" fmla="*/ 315468 w 630936"/>
              <a:gd name="connsiteY4" fmla="*/ 0 h 630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36" h="630936">
                <a:moveTo>
                  <a:pt x="315468" y="0"/>
                </a:moveTo>
                <a:cubicBezTo>
                  <a:pt x="489696" y="0"/>
                  <a:pt x="630936" y="141240"/>
                  <a:pt x="630936" y="315468"/>
                </a:cubicBezTo>
                <a:cubicBezTo>
                  <a:pt x="630936" y="489696"/>
                  <a:pt x="489696" y="630936"/>
                  <a:pt x="315468" y="630936"/>
                </a:cubicBezTo>
                <a:cubicBezTo>
                  <a:pt x="141240" y="630936"/>
                  <a:pt x="0" y="489696"/>
                  <a:pt x="0" y="315468"/>
                </a:cubicBezTo>
                <a:cubicBezTo>
                  <a:pt x="0" y="141240"/>
                  <a:pt x="141240" y="0"/>
                  <a:pt x="315468" y="0"/>
                </a:cubicBezTo>
                <a:close/>
              </a:path>
            </a:pathLst>
          </a:custGeom>
        </p:spPr>
      </p:pic>
      <p:sp>
        <p:nvSpPr>
          <p:cNvPr id="35" name="Rectangle 34">
            <a:extLst>
              <a:ext uri="{FF2B5EF4-FFF2-40B4-BE49-F238E27FC236}">
                <a16:creationId xmlns:a16="http://schemas.microsoft.com/office/drawing/2014/main" id="{A791A304-6221-47BC-863F-407E4273FD59}"/>
              </a:ext>
            </a:extLst>
          </p:cNvPr>
          <p:cNvSpPr>
            <a:spLocks/>
          </p:cNvSpPr>
          <p:nvPr/>
        </p:nvSpPr>
        <p:spPr>
          <a:xfrm>
            <a:off x="1245764" y="6019902"/>
            <a:ext cx="6531660" cy="244106"/>
          </a:xfrm>
          <a:prstGeom prst="rect">
            <a:avLst/>
          </a:prstGeom>
        </p:spPr>
        <p:txBody>
          <a:bodyPr wrap="none" lIns="0" tIns="0" rIns="0" bIns="0">
            <a:spAutoFit/>
          </a:bodyPr>
          <a:lstStyle/>
          <a:p>
            <a:pPr>
              <a:lnSpc>
                <a:spcPct val="107000"/>
              </a:lnSpc>
            </a:pPr>
            <a:r>
              <a:rPr lang="en-US" sz="1600" dirty="0"/>
              <a:t>Configure build pipeline to access package security and license ratings</a:t>
            </a:r>
          </a:p>
        </p:txBody>
      </p:sp>
      <p:cxnSp>
        <p:nvCxnSpPr>
          <p:cNvPr id="37" name="Straight Connector 36">
            <a:extLst>
              <a:ext uri="{FF2B5EF4-FFF2-40B4-BE49-F238E27FC236}">
                <a16:creationId xmlns:a16="http://schemas.microsoft.com/office/drawing/2014/main" id="{E32EA86F-5A06-430A-8FC6-352E2BA83630}"/>
              </a:ext>
              <a:ext uri="{C183D7F6-B498-43B3-948B-1728B52AA6E4}">
                <adec:decorative xmlns:adec="http://schemas.microsoft.com/office/drawing/2017/decorative" val="1"/>
              </a:ext>
            </a:extLst>
          </p:cNvPr>
          <p:cNvCxnSpPr>
            <a:cxnSpLocks/>
          </p:cNvCxnSpPr>
          <p:nvPr/>
        </p:nvCxnSpPr>
        <p:spPr>
          <a:xfrm>
            <a:off x="1245765" y="2756250"/>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9" name="Picture 38" descr="Icon of wrench and screw driver">
            <a:extLst>
              <a:ext uri="{FF2B5EF4-FFF2-40B4-BE49-F238E27FC236}">
                <a16:creationId xmlns:a16="http://schemas.microsoft.com/office/drawing/2014/main" id="{70DCE94D-DD20-4628-BA8A-9A963DECBDF7}"/>
              </a:ext>
            </a:extLst>
          </p:cNvPr>
          <p:cNvPicPr>
            <a:picLocks noChangeAspect="1"/>
          </p:cNvPicPr>
          <p:nvPr/>
        </p:nvPicPr>
        <p:blipFill>
          <a:blip r:embed="rId7"/>
          <a:stretch>
            <a:fillRect/>
          </a:stretch>
        </p:blipFill>
        <p:spPr>
          <a:xfrm>
            <a:off x="427038" y="1340715"/>
            <a:ext cx="630936" cy="630936"/>
          </a:xfrm>
          <a:prstGeom prst="rect">
            <a:avLst/>
          </a:prstGeom>
        </p:spPr>
      </p:pic>
      <p:sp>
        <p:nvSpPr>
          <p:cNvPr id="41" name="Rectangle 40">
            <a:extLst>
              <a:ext uri="{FF2B5EF4-FFF2-40B4-BE49-F238E27FC236}">
                <a16:creationId xmlns:a16="http://schemas.microsoft.com/office/drawing/2014/main" id="{7B3CC18F-4027-433B-BDFE-8FBD0D48C67E}"/>
              </a:ext>
            </a:extLst>
          </p:cNvPr>
          <p:cNvSpPr/>
          <p:nvPr/>
        </p:nvSpPr>
        <p:spPr>
          <a:xfrm>
            <a:off x="1245764" y="1409961"/>
            <a:ext cx="8533904" cy="49244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lvl="0"/>
            <a:r>
              <a:rPr lang="en-US" sz="1600" dirty="0">
                <a:solidFill>
                  <a:schemeClr val="tx1"/>
                </a:solidFill>
              </a:rPr>
              <a:t>Define an infrastructure and configuration strategy and appropriate toolset for a release pipeline and application infrastructure</a:t>
            </a:r>
            <a:endParaRPr lang="en-IN" sz="1600" dirty="0">
              <a:solidFill>
                <a:schemeClr val="tx1"/>
              </a:solidFill>
            </a:endParaRPr>
          </a:p>
        </p:txBody>
      </p:sp>
      <p:pic>
        <p:nvPicPr>
          <p:cNvPr id="43" name="Picture 42" descr="Icon of a security lock">
            <a:extLst>
              <a:ext uri="{FF2B5EF4-FFF2-40B4-BE49-F238E27FC236}">
                <a16:creationId xmlns:a16="http://schemas.microsoft.com/office/drawing/2014/main" id="{B0B610BA-2605-4D58-BD1F-7F49123F13FF}"/>
              </a:ext>
            </a:extLst>
          </p:cNvPr>
          <p:cNvPicPr>
            <a:picLocks noChangeAspect="1"/>
          </p:cNvPicPr>
          <p:nvPr/>
        </p:nvPicPr>
        <p:blipFill>
          <a:blip r:embed="rId8"/>
          <a:stretch>
            <a:fillRect/>
          </a:stretch>
        </p:blipFill>
        <p:spPr>
          <a:xfrm>
            <a:off x="427038" y="2122501"/>
            <a:ext cx="630936" cy="629842"/>
          </a:xfrm>
          <a:prstGeom prst="rect">
            <a:avLst/>
          </a:prstGeom>
        </p:spPr>
      </p:pic>
      <p:sp>
        <p:nvSpPr>
          <p:cNvPr id="45" name="Rectangle 44">
            <a:extLst>
              <a:ext uri="{FF2B5EF4-FFF2-40B4-BE49-F238E27FC236}">
                <a16:creationId xmlns:a16="http://schemas.microsoft.com/office/drawing/2014/main" id="{784315CC-18B4-4E99-A573-0AEC07CE559A}"/>
              </a:ext>
            </a:extLst>
          </p:cNvPr>
          <p:cNvSpPr/>
          <p:nvPr/>
        </p:nvSpPr>
        <p:spPr>
          <a:xfrm>
            <a:off x="1245764" y="2317714"/>
            <a:ext cx="8961389" cy="24622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r>
              <a:rPr lang="en-US" sz="1600" dirty="0">
                <a:solidFill>
                  <a:schemeClr val="tx1"/>
                </a:solidFill>
              </a:rPr>
              <a:t>Implement compliance and security in your application infrastructure </a:t>
            </a:r>
          </a:p>
        </p:txBody>
      </p:sp>
      <p:cxnSp>
        <p:nvCxnSpPr>
          <p:cNvPr id="47" name="Straight Connector 46">
            <a:extLst>
              <a:ext uri="{FF2B5EF4-FFF2-40B4-BE49-F238E27FC236}">
                <a16:creationId xmlns:a16="http://schemas.microsoft.com/office/drawing/2014/main" id="{6126FBC2-235C-446A-A831-F24816A6762D}"/>
              </a:ext>
              <a:ext uri="{C183D7F6-B498-43B3-948B-1728B52AA6E4}">
                <adec:decorative xmlns:adec="http://schemas.microsoft.com/office/drawing/2017/decorative" val="1"/>
              </a:ext>
            </a:extLst>
          </p:cNvPr>
          <p:cNvCxnSpPr>
            <a:cxnSpLocks/>
          </p:cNvCxnSpPr>
          <p:nvPr/>
        </p:nvCxnSpPr>
        <p:spPr>
          <a:xfrm>
            <a:off x="1246221" y="2122501"/>
            <a:ext cx="1078865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9241507"/>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C0885-9660-42ED-B074-34059C74AD9F}"/>
              </a:ext>
            </a:extLst>
          </p:cNvPr>
          <p:cNvSpPr>
            <a:spLocks noGrp="1"/>
          </p:cNvSpPr>
          <p:nvPr>
            <p:ph type="title"/>
          </p:nvPr>
        </p:nvSpPr>
        <p:spPr>
          <a:xfrm>
            <a:off x="427038" y="632779"/>
            <a:ext cx="11571287" cy="411162"/>
          </a:xfrm>
        </p:spPr>
        <p:txBody>
          <a:bodyPr/>
          <a:lstStyle/>
          <a:p>
            <a:r>
              <a:rPr lang="en-US" dirty="0"/>
              <a:t>Learning Path review questions</a:t>
            </a:r>
          </a:p>
        </p:txBody>
      </p:sp>
      <p:pic>
        <p:nvPicPr>
          <p:cNvPr id="11" name="Picture 10">
            <a:extLst>
              <a:ext uri="{FF2B5EF4-FFF2-40B4-BE49-F238E27FC236}">
                <a16:creationId xmlns:a16="http://schemas.microsoft.com/office/drawing/2014/main" id="{76F9D88A-D8EC-4601-AD01-BDA84CB889C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1385147"/>
            <a:ext cx="685800" cy="685800"/>
          </a:xfrm>
          <a:prstGeom prst="rect">
            <a:avLst/>
          </a:prstGeom>
        </p:spPr>
      </p:pic>
      <p:sp>
        <p:nvSpPr>
          <p:cNvPr id="12" name="Oval 11">
            <a:extLst>
              <a:ext uri="{FF2B5EF4-FFF2-40B4-BE49-F238E27FC236}">
                <a16:creationId xmlns:a16="http://schemas.microsoft.com/office/drawing/2014/main" id="{24D5917E-3BEF-4F93-907E-D044B8D2C9D2}"/>
              </a:ext>
            </a:extLst>
          </p:cNvPr>
          <p:cNvSpPr/>
          <p:nvPr/>
        </p:nvSpPr>
        <p:spPr bwMode="auto">
          <a:xfrm rot="10800000" flipV="1">
            <a:off x="482461" y="1436750"/>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latin typeface="+mj-lt"/>
                <a:ea typeface="Segoe UI" pitchFamily="34" charset="0"/>
                <a:cs typeface="Segoe UI" pitchFamily="34" charset="0"/>
              </a:rPr>
              <a:t>1</a:t>
            </a:r>
          </a:p>
        </p:txBody>
      </p:sp>
      <p:sp>
        <p:nvSpPr>
          <p:cNvPr id="6" name="TextBox 5">
            <a:extLst>
              <a:ext uri="{FF2B5EF4-FFF2-40B4-BE49-F238E27FC236}">
                <a16:creationId xmlns:a16="http://schemas.microsoft.com/office/drawing/2014/main" id="{ED89A3E7-751E-4A56-96C1-80167C1D7E1E}"/>
              </a:ext>
            </a:extLst>
          </p:cNvPr>
          <p:cNvSpPr txBox="1"/>
          <p:nvPr/>
        </p:nvSpPr>
        <p:spPr>
          <a:xfrm>
            <a:off x="1306286" y="1574159"/>
            <a:ext cx="10703152" cy="307777"/>
          </a:xfrm>
          <a:prstGeom prst="rect">
            <a:avLst/>
          </a:prstGeom>
          <a:noFill/>
        </p:spPr>
        <p:txBody>
          <a:bodyPr wrap="square" lIns="0" tIns="0" rIns="0" bIns="0" rtlCol="0">
            <a:spAutoFit/>
          </a:bodyPr>
          <a:lstStyle/>
          <a:p>
            <a:pPr lvl="0" defTabSz="711200">
              <a:spcBef>
                <a:spcPct val="0"/>
              </a:spcBef>
            </a:pPr>
            <a:r>
              <a:rPr lang="en-IE" sz="2000" dirty="0"/>
              <a:t>Secure DevOps combines which two elements?</a:t>
            </a:r>
            <a:endParaRPr lang="en-IN" sz="2000" dirty="0"/>
          </a:p>
        </p:txBody>
      </p:sp>
      <p:cxnSp>
        <p:nvCxnSpPr>
          <p:cNvPr id="21" name="Straight Connector 20">
            <a:extLst>
              <a:ext uri="{FF2B5EF4-FFF2-40B4-BE49-F238E27FC236}">
                <a16:creationId xmlns:a16="http://schemas.microsoft.com/office/drawing/2014/main" id="{950A4CA1-D353-456C-9FDD-2E313F3469F7}"/>
              </a:ext>
              <a:ext uri="{C183D7F6-B498-43B3-948B-1728B52AA6E4}">
                <adec:decorative xmlns:adec="http://schemas.microsoft.com/office/drawing/2017/decorative" val="1"/>
              </a:ext>
            </a:extLst>
          </p:cNvPr>
          <p:cNvCxnSpPr>
            <a:cxnSpLocks/>
          </p:cNvCxnSpPr>
          <p:nvPr/>
        </p:nvCxnSpPr>
        <p:spPr>
          <a:xfrm>
            <a:off x="1306124" y="2186604"/>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C7307F7-EA43-4C44-922D-80CDE88E14A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2302261"/>
            <a:ext cx="685800" cy="685800"/>
          </a:xfrm>
          <a:prstGeom prst="rect">
            <a:avLst/>
          </a:prstGeom>
        </p:spPr>
      </p:pic>
      <p:sp>
        <p:nvSpPr>
          <p:cNvPr id="15" name="Oval 14">
            <a:extLst>
              <a:ext uri="{FF2B5EF4-FFF2-40B4-BE49-F238E27FC236}">
                <a16:creationId xmlns:a16="http://schemas.microsoft.com/office/drawing/2014/main" id="{2D5250A8-3037-4FD5-AEC3-2642D84BC41F}"/>
              </a:ext>
            </a:extLst>
          </p:cNvPr>
          <p:cNvSpPr/>
          <p:nvPr/>
        </p:nvSpPr>
        <p:spPr bwMode="auto">
          <a:xfrm rot="10800000" flipV="1">
            <a:off x="482461" y="2353864"/>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latin typeface="+mj-lt"/>
                <a:ea typeface="Segoe UI" pitchFamily="34" charset="0"/>
                <a:cs typeface="Segoe UI" pitchFamily="34" charset="0"/>
              </a:rPr>
              <a:t>2</a:t>
            </a:r>
          </a:p>
        </p:txBody>
      </p:sp>
      <p:sp>
        <p:nvSpPr>
          <p:cNvPr id="7" name="TextBox 6">
            <a:extLst>
              <a:ext uri="{FF2B5EF4-FFF2-40B4-BE49-F238E27FC236}">
                <a16:creationId xmlns:a16="http://schemas.microsoft.com/office/drawing/2014/main" id="{4B587ABB-FE90-4ECC-940F-32C94EBF6557}"/>
              </a:ext>
            </a:extLst>
          </p:cNvPr>
          <p:cNvSpPr txBox="1"/>
          <p:nvPr/>
        </p:nvSpPr>
        <p:spPr>
          <a:xfrm>
            <a:off x="1306286" y="2491273"/>
            <a:ext cx="10703152" cy="307777"/>
          </a:xfrm>
          <a:prstGeom prst="rect">
            <a:avLst/>
          </a:prstGeom>
          <a:noFill/>
        </p:spPr>
        <p:txBody>
          <a:bodyPr wrap="square" lIns="0" tIns="0" rIns="0" bIns="0" rtlCol="0">
            <a:spAutoFit/>
          </a:bodyPr>
          <a:lstStyle/>
          <a:p>
            <a:pPr lvl="0" defTabSz="711200">
              <a:spcBef>
                <a:spcPct val="0"/>
              </a:spcBef>
            </a:pPr>
            <a:r>
              <a:rPr lang="en-IE" sz="2000" dirty="0"/>
              <a:t>Which term broadly defines what security means in Secure DevOps?</a:t>
            </a:r>
            <a:endParaRPr lang="en-IN" sz="2000" dirty="0"/>
          </a:p>
        </p:txBody>
      </p:sp>
      <p:cxnSp>
        <p:nvCxnSpPr>
          <p:cNvPr id="22" name="Straight Connector 21">
            <a:extLst>
              <a:ext uri="{FF2B5EF4-FFF2-40B4-BE49-F238E27FC236}">
                <a16:creationId xmlns:a16="http://schemas.microsoft.com/office/drawing/2014/main" id="{0466BD81-E804-40CF-BA7B-B23A7AED3CE9}"/>
              </a:ext>
              <a:ext uri="{C183D7F6-B498-43B3-948B-1728B52AA6E4}">
                <adec:decorative xmlns:adec="http://schemas.microsoft.com/office/drawing/2017/decorative" val="1"/>
              </a:ext>
            </a:extLst>
          </p:cNvPr>
          <p:cNvCxnSpPr>
            <a:cxnSpLocks/>
          </p:cNvCxnSpPr>
          <p:nvPr/>
        </p:nvCxnSpPr>
        <p:spPr>
          <a:xfrm>
            <a:off x="1306124" y="3103718"/>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B0717E69-2DCB-4F81-8C19-97939A02716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3338140"/>
            <a:ext cx="685800" cy="685800"/>
          </a:xfrm>
          <a:prstGeom prst="rect">
            <a:avLst/>
          </a:prstGeom>
        </p:spPr>
      </p:pic>
      <p:sp>
        <p:nvSpPr>
          <p:cNvPr id="18" name="Oval 17">
            <a:extLst>
              <a:ext uri="{FF2B5EF4-FFF2-40B4-BE49-F238E27FC236}">
                <a16:creationId xmlns:a16="http://schemas.microsoft.com/office/drawing/2014/main" id="{CAB98A59-6AFB-458F-8340-057A20CDAAA4}"/>
              </a:ext>
            </a:extLst>
          </p:cNvPr>
          <p:cNvSpPr/>
          <p:nvPr/>
        </p:nvSpPr>
        <p:spPr bwMode="auto">
          <a:xfrm rot="10800000" flipV="1">
            <a:off x="482461" y="3389743"/>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latin typeface="+mj-lt"/>
                <a:ea typeface="Segoe UI" pitchFamily="34" charset="0"/>
                <a:cs typeface="Segoe UI" pitchFamily="34" charset="0"/>
              </a:rPr>
              <a:t>3</a:t>
            </a:r>
          </a:p>
        </p:txBody>
      </p:sp>
      <p:sp>
        <p:nvSpPr>
          <p:cNvPr id="10" name="TextBox 9">
            <a:extLst>
              <a:ext uri="{FF2B5EF4-FFF2-40B4-BE49-F238E27FC236}">
                <a16:creationId xmlns:a16="http://schemas.microsoft.com/office/drawing/2014/main" id="{4762504D-36D7-4833-A368-C6CCA37C9B81}"/>
              </a:ext>
            </a:extLst>
          </p:cNvPr>
          <p:cNvSpPr txBox="1"/>
          <p:nvPr/>
        </p:nvSpPr>
        <p:spPr>
          <a:xfrm>
            <a:off x="1306286" y="3219375"/>
            <a:ext cx="10703152" cy="923330"/>
          </a:xfrm>
          <a:prstGeom prst="rect">
            <a:avLst/>
          </a:prstGeom>
          <a:noFill/>
        </p:spPr>
        <p:txBody>
          <a:bodyPr wrap="square" lIns="0" tIns="0" rIns="0" bIns="0" rtlCol="0">
            <a:spAutoFit/>
          </a:bodyPr>
          <a:lstStyle/>
          <a:p>
            <a:pPr lvl="0" defTabSz="711200">
              <a:spcBef>
                <a:spcPct val="0"/>
              </a:spcBef>
            </a:pPr>
            <a:r>
              <a:rPr lang="en-US" sz="2000" dirty="0"/>
              <a:t>What component in Azure DevOps can you use to store, organize and share access to packages, and integrate those packages them with your continuous integration and continuous delivery pipeline?</a:t>
            </a:r>
            <a:endParaRPr lang="en-IN" sz="2000" dirty="0"/>
          </a:p>
        </p:txBody>
      </p:sp>
      <p:cxnSp>
        <p:nvCxnSpPr>
          <p:cNvPr id="23" name="Straight Connector 22">
            <a:extLst>
              <a:ext uri="{FF2B5EF4-FFF2-40B4-BE49-F238E27FC236}">
                <a16:creationId xmlns:a16="http://schemas.microsoft.com/office/drawing/2014/main" id="{9CDA5B00-2310-44EC-808D-DB0965BFC985}"/>
              </a:ext>
              <a:ext uri="{C183D7F6-B498-43B3-948B-1728B52AA6E4}">
                <adec:decorative xmlns:adec="http://schemas.microsoft.com/office/drawing/2017/decorative" val="1"/>
              </a:ext>
            </a:extLst>
          </p:cNvPr>
          <p:cNvCxnSpPr>
            <a:cxnSpLocks/>
          </p:cNvCxnSpPr>
          <p:nvPr/>
        </p:nvCxnSpPr>
        <p:spPr>
          <a:xfrm>
            <a:off x="1306124" y="4258362"/>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2457F1AF-CBE1-4A79-9970-DC5CE2E1BEE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4374019"/>
            <a:ext cx="685800" cy="685800"/>
          </a:xfrm>
          <a:prstGeom prst="rect">
            <a:avLst/>
          </a:prstGeom>
        </p:spPr>
      </p:pic>
      <p:sp>
        <p:nvSpPr>
          <p:cNvPr id="30" name="Oval 29">
            <a:extLst>
              <a:ext uri="{FF2B5EF4-FFF2-40B4-BE49-F238E27FC236}">
                <a16:creationId xmlns:a16="http://schemas.microsoft.com/office/drawing/2014/main" id="{683ACD2D-117F-4D39-A485-56F55744A2D5}"/>
              </a:ext>
            </a:extLst>
          </p:cNvPr>
          <p:cNvSpPr/>
          <p:nvPr/>
        </p:nvSpPr>
        <p:spPr bwMode="auto">
          <a:xfrm rot="10800000" flipV="1">
            <a:off x="482461" y="4425622"/>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latin typeface="+mj-lt"/>
                <a:ea typeface="Segoe UI" pitchFamily="34" charset="0"/>
                <a:cs typeface="Segoe UI" pitchFamily="34" charset="0"/>
              </a:rPr>
              <a:t>4</a:t>
            </a:r>
          </a:p>
        </p:txBody>
      </p:sp>
      <p:cxnSp>
        <p:nvCxnSpPr>
          <p:cNvPr id="24" name="Straight Connector 23">
            <a:extLst>
              <a:ext uri="{FF2B5EF4-FFF2-40B4-BE49-F238E27FC236}">
                <a16:creationId xmlns:a16="http://schemas.microsoft.com/office/drawing/2014/main" id="{D46A4B1B-8FC5-4B0F-A17A-CE451CA065BA}"/>
              </a:ext>
              <a:ext uri="{C183D7F6-B498-43B3-948B-1728B52AA6E4}">
                <adec:decorative xmlns:adec="http://schemas.microsoft.com/office/drawing/2017/decorative" val="1"/>
              </a:ext>
            </a:extLst>
          </p:cNvPr>
          <p:cNvCxnSpPr>
            <a:cxnSpLocks/>
          </p:cNvCxnSpPr>
          <p:nvPr/>
        </p:nvCxnSpPr>
        <p:spPr>
          <a:xfrm>
            <a:off x="1306124" y="5175476"/>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2617AC34-8587-4182-9D53-64B17F47D12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5291133"/>
            <a:ext cx="685800" cy="685800"/>
          </a:xfrm>
          <a:prstGeom prst="rect">
            <a:avLst/>
          </a:prstGeom>
        </p:spPr>
      </p:pic>
      <p:sp>
        <p:nvSpPr>
          <p:cNvPr id="52" name="Oval 51">
            <a:extLst>
              <a:ext uri="{FF2B5EF4-FFF2-40B4-BE49-F238E27FC236}">
                <a16:creationId xmlns:a16="http://schemas.microsoft.com/office/drawing/2014/main" id="{D19F0313-94DE-4794-8F9C-D4EB40EF7BEB}"/>
              </a:ext>
            </a:extLst>
          </p:cNvPr>
          <p:cNvSpPr/>
          <p:nvPr/>
        </p:nvSpPr>
        <p:spPr bwMode="auto">
          <a:xfrm rot="10800000" flipV="1">
            <a:off x="482461" y="5342736"/>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solidFill>
                  <a:schemeClr val="tx1"/>
                </a:solidFill>
                <a:latin typeface="+mj-lt"/>
                <a:ea typeface="Segoe UI" pitchFamily="34" charset="0"/>
                <a:cs typeface="Segoe UI" pitchFamily="34" charset="0"/>
              </a:rPr>
              <a:t>5</a:t>
            </a:r>
          </a:p>
        </p:txBody>
      </p:sp>
      <p:sp>
        <p:nvSpPr>
          <p:cNvPr id="16" name="TextBox 15">
            <a:extLst>
              <a:ext uri="{FF2B5EF4-FFF2-40B4-BE49-F238E27FC236}">
                <a16:creationId xmlns:a16="http://schemas.microsoft.com/office/drawing/2014/main" id="{26573D38-FD07-4BF8-986C-F3740C2A8BE1}"/>
              </a:ext>
            </a:extLst>
          </p:cNvPr>
          <p:cNvSpPr txBox="1"/>
          <p:nvPr/>
        </p:nvSpPr>
        <p:spPr>
          <a:xfrm>
            <a:off x="1295173" y="4563030"/>
            <a:ext cx="10703152" cy="307777"/>
          </a:xfrm>
          <a:prstGeom prst="rect">
            <a:avLst/>
          </a:prstGeom>
          <a:noFill/>
        </p:spPr>
        <p:txBody>
          <a:bodyPr wrap="square" lIns="0" tIns="0" rIns="0" bIns="0" rtlCol="0">
            <a:spAutoFit/>
          </a:bodyPr>
          <a:lstStyle/>
          <a:p>
            <a:pPr lvl="0" defTabSz="711200">
              <a:spcBef>
                <a:spcPct val="0"/>
              </a:spcBef>
            </a:pPr>
            <a:r>
              <a:rPr lang="en-US" sz="2000" dirty="0"/>
              <a:t>What describes the term software composition analysis?</a:t>
            </a:r>
            <a:endParaRPr lang="en-IN" sz="2000" dirty="0"/>
          </a:p>
        </p:txBody>
      </p:sp>
      <p:sp>
        <p:nvSpPr>
          <p:cNvPr id="20" name="TextBox 19">
            <a:extLst>
              <a:ext uri="{FF2B5EF4-FFF2-40B4-BE49-F238E27FC236}">
                <a16:creationId xmlns:a16="http://schemas.microsoft.com/office/drawing/2014/main" id="{7AA3E8E4-491A-43B2-8116-EC30FD9DDB7A}"/>
              </a:ext>
            </a:extLst>
          </p:cNvPr>
          <p:cNvSpPr txBox="1"/>
          <p:nvPr/>
        </p:nvSpPr>
        <p:spPr>
          <a:xfrm>
            <a:off x="1295173" y="5342736"/>
            <a:ext cx="10703152" cy="615553"/>
          </a:xfrm>
          <a:prstGeom prst="rect">
            <a:avLst/>
          </a:prstGeom>
          <a:noFill/>
        </p:spPr>
        <p:txBody>
          <a:bodyPr wrap="square" lIns="0" tIns="0" rIns="0" bIns="0" rtlCol="0">
            <a:spAutoFit/>
          </a:bodyPr>
          <a:lstStyle/>
          <a:p>
            <a:pPr lvl="0" defTabSz="711200">
              <a:spcBef>
                <a:spcPct val="0"/>
              </a:spcBef>
            </a:pPr>
            <a:r>
              <a:rPr lang="en-US" sz="2000" dirty="0"/>
              <a:t>From where can extensions be sourced from, to be integrated into Azure DevOps CI/CD pipelines and help provide security composition analysis?</a:t>
            </a:r>
            <a:endParaRPr lang="en-IN" sz="2000" dirty="0"/>
          </a:p>
        </p:txBody>
      </p:sp>
    </p:spTree>
    <p:extLst>
      <p:ext uri="{BB962C8B-B14F-4D97-AF65-F5344CB8AC3E}">
        <p14:creationId xmlns:p14="http://schemas.microsoft.com/office/powerpoint/2010/main" val="326977087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C0885-9660-42ED-B074-34059C74AD9F}"/>
              </a:ext>
            </a:extLst>
          </p:cNvPr>
          <p:cNvSpPr>
            <a:spLocks noGrp="1"/>
          </p:cNvSpPr>
          <p:nvPr>
            <p:ph type="title"/>
          </p:nvPr>
        </p:nvSpPr>
        <p:spPr>
          <a:xfrm>
            <a:off x="427038" y="632779"/>
            <a:ext cx="11571287" cy="411162"/>
          </a:xfrm>
        </p:spPr>
        <p:txBody>
          <a:bodyPr/>
          <a:lstStyle/>
          <a:p>
            <a:r>
              <a:rPr lang="en-US" dirty="0"/>
              <a:t>Learning Path review questions (continued)</a:t>
            </a:r>
          </a:p>
        </p:txBody>
      </p:sp>
      <p:pic>
        <p:nvPicPr>
          <p:cNvPr id="14" name="Picture 13">
            <a:extLst>
              <a:ext uri="{FF2B5EF4-FFF2-40B4-BE49-F238E27FC236}">
                <a16:creationId xmlns:a16="http://schemas.microsoft.com/office/drawing/2014/main" id="{715AA786-DECC-48FA-AF5B-34917E0356F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1601715"/>
            <a:ext cx="685800" cy="685800"/>
          </a:xfrm>
          <a:prstGeom prst="rect">
            <a:avLst/>
          </a:prstGeom>
        </p:spPr>
      </p:pic>
      <p:sp>
        <p:nvSpPr>
          <p:cNvPr id="15" name="Oval 14">
            <a:extLst>
              <a:ext uri="{FF2B5EF4-FFF2-40B4-BE49-F238E27FC236}">
                <a16:creationId xmlns:a16="http://schemas.microsoft.com/office/drawing/2014/main" id="{A3FA1B2E-16E8-4B23-ADC0-66F31507546C}"/>
              </a:ext>
            </a:extLst>
          </p:cNvPr>
          <p:cNvSpPr/>
          <p:nvPr/>
        </p:nvSpPr>
        <p:spPr bwMode="auto">
          <a:xfrm rot="10800000" flipV="1">
            <a:off x="482461" y="1653318"/>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mj-lt"/>
                <a:ea typeface="Segoe UI" pitchFamily="34" charset="0"/>
                <a:cs typeface="Segoe UI" pitchFamily="34" charset="0"/>
              </a:rPr>
              <a:t>6</a:t>
            </a:r>
          </a:p>
        </p:txBody>
      </p:sp>
      <p:sp>
        <p:nvSpPr>
          <p:cNvPr id="22" name="TextBox 21">
            <a:extLst>
              <a:ext uri="{FF2B5EF4-FFF2-40B4-BE49-F238E27FC236}">
                <a16:creationId xmlns:a16="http://schemas.microsoft.com/office/drawing/2014/main" id="{2B856B06-49DD-4652-A781-7A895BC1634A}"/>
              </a:ext>
            </a:extLst>
          </p:cNvPr>
          <p:cNvSpPr txBox="1"/>
          <p:nvPr/>
        </p:nvSpPr>
        <p:spPr>
          <a:xfrm>
            <a:off x="1306286" y="1636839"/>
            <a:ext cx="10703152" cy="615553"/>
          </a:xfrm>
          <a:prstGeom prst="rect">
            <a:avLst/>
          </a:prstGeom>
          <a:noFill/>
        </p:spPr>
        <p:txBody>
          <a:bodyPr wrap="square" lIns="0" tIns="0" rIns="0" bIns="0" rtlCol="0">
            <a:spAutoFit/>
          </a:bodyPr>
          <a:lstStyle/>
          <a:p>
            <a:pPr lvl="0" defTabSz="711200">
              <a:spcBef>
                <a:spcPct val="0"/>
              </a:spcBef>
            </a:pPr>
            <a:r>
              <a:rPr lang="en-US" sz="2000" dirty="0"/>
              <a:t>Which products are available as extensions in Azure DevOps Marketplace, and can provide either OSS or source code scanning as part of an Azure Pipeline?</a:t>
            </a:r>
          </a:p>
        </p:txBody>
      </p:sp>
      <p:cxnSp>
        <p:nvCxnSpPr>
          <p:cNvPr id="23" name="Straight Connector 22">
            <a:extLst>
              <a:ext uri="{FF2B5EF4-FFF2-40B4-BE49-F238E27FC236}">
                <a16:creationId xmlns:a16="http://schemas.microsoft.com/office/drawing/2014/main" id="{A0119163-D865-4520-9C31-8E26C7BA0825}"/>
              </a:ext>
              <a:ext uri="{C183D7F6-B498-43B3-948B-1728B52AA6E4}">
                <adec:decorative xmlns:adec="http://schemas.microsoft.com/office/drawing/2017/decorative" val="1"/>
              </a:ext>
            </a:extLst>
          </p:cNvPr>
          <p:cNvCxnSpPr>
            <a:cxnSpLocks/>
          </p:cNvCxnSpPr>
          <p:nvPr/>
        </p:nvCxnSpPr>
        <p:spPr>
          <a:xfrm>
            <a:off x="1306124" y="2442760"/>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E908DA3E-A048-4342-9935-A6C9431BAAA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2598005"/>
            <a:ext cx="685800" cy="685800"/>
          </a:xfrm>
          <a:prstGeom prst="rect">
            <a:avLst/>
          </a:prstGeom>
        </p:spPr>
      </p:pic>
      <p:sp>
        <p:nvSpPr>
          <p:cNvPr id="25" name="Oval 24">
            <a:extLst>
              <a:ext uri="{FF2B5EF4-FFF2-40B4-BE49-F238E27FC236}">
                <a16:creationId xmlns:a16="http://schemas.microsoft.com/office/drawing/2014/main" id="{7FA47316-1F7C-4667-B9AC-134564173D0E}"/>
              </a:ext>
            </a:extLst>
          </p:cNvPr>
          <p:cNvSpPr/>
          <p:nvPr/>
        </p:nvSpPr>
        <p:spPr bwMode="auto">
          <a:xfrm rot="10800000" flipV="1">
            <a:off x="482461" y="2649608"/>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mj-lt"/>
                <a:ea typeface="Segoe UI" pitchFamily="34" charset="0"/>
                <a:cs typeface="Segoe UI" pitchFamily="34" charset="0"/>
              </a:rPr>
              <a:t>7</a:t>
            </a:r>
          </a:p>
        </p:txBody>
      </p:sp>
      <p:sp>
        <p:nvSpPr>
          <p:cNvPr id="26" name="TextBox 25">
            <a:extLst>
              <a:ext uri="{FF2B5EF4-FFF2-40B4-BE49-F238E27FC236}">
                <a16:creationId xmlns:a16="http://schemas.microsoft.com/office/drawing/2014/main" id="{CCDF4B6D-926E-462C-8A85-2C183D948130}"/>
              </a:ext>
            </a:extLst>
          </p:cNvPr>
          <p:cNvSpPr txBox="1"/>
          <p:nvPr/>
        </p:nvSpPr>
        <p:spPr>
          <a:xfrm>
            <a:off x="1306286" y="2633129"/>
            <a:ext cx="10703152" cy="615553"/>
          </a:xfrm>
          <a:prstGeom prst="rect">
            <a:avLst/>
          </a:prstGeom>
          <a:noFill/>
        </p:spPr>
        <p:txBody>
          <a:bodyPr wrap="square" lIns="0" tIns="0" rIns="0" bIns="0" rtlCol="0" anchor="ctr">
            <a:spAutoFit/>
          </a:bodyPr>
          <a:lstStyle/>
          <a:p>
            <a:pPr lvl="0" defTabSz="711200">
              <a:spcBef>
                <a:spcPct val="0"/>
              </a:spcBef>
            </a:pPr>
            <a:r>
              <a:rPr lang="en-US" sz="2000" dirty="0"/>
              <a:t>Which Azure service is a monitoring service that can provide threat protection and security recommendations across all your services both in Azure and on-premises?</a:t>
            </a:r>
          </a:p>
        </p:txBody>
      </p:sp>
      <p:cxnSp>
        <p:nvCxnSpPr>
          <p:cNvPr id="27" name="Straight Connector 26">
            <a:extLst>
              <a:ext uri="{FF2B5EF4-FFF2-40B4-BE49-F238E27FC236}">
                <a16:creationId xmlns:a16="http://schemas.microsoft.com/office/drawing/2014/main" id="{6A259227-B290-41BC-9E01-8B5EBBC4A092}"/>
              </a:ext>
              <a:ext uri="{C183D7F6-B498-43B3-948B-1728B52AA6E4}">
                <adec:decorative xmlns:adec="http://schemas.microsoft.com/office/drawing/2017/decorative" val="1"/>
              </a:ext>
            </a:extLst>
          </p:cNvPr>
          <p:cNvCxnSpPr>
            <a:cxnSpLocks/>
          </p:cNvCxnSpPr>
          <p:nvPr/>
        </p:nvCxnSpPr>
        <p:spPr>
          <a:xfrm>
            <a:off x="1306124" y="3439050"/>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509AD7E7-9A06-441E-8EED-A2A814504DB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3594295"/>
            <a:ext cx="685800" cy="685800"/>
          </a:xfrm>
          <a:prstGeom prst="rect">
            <a:avLst/>
          </a:prstGeom>
        </p:spPr>
      </p:pic>
      <p:sp>
        <p:nvSpPr>
          <p:cNvPr id="29" name="Oval 28">
            <a:extLst>
              <a:ext uri="{FF2B5EF4-FFF2-40B4-BE49-F238E27FC236}">
                <a16:creationId xmlns:a16="http://schemas.microsoft.com/office/drawing/2014/main" id="{B454FB8C-336A-4106-AB49-7AE0B413BA61}"/>
              </a:ext>
            </a:extLst>
          </p:cNvPr>
          <p:cNvSpPr/>
          <p:nvPr/>
        </p:nvSpPr>
        <p:spPr bwMode="auto">
          <a:xfrm rot="10800000" flipV="1">
            <a:off x="482461" y="3645898"/>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mj-lt"/>
                <a:ea typeface="Segoe UI" pitchFamily="34" charset="0"/>
                <a:cs typeface="Segoe UI" pitchFamily="34" charset="0"/>
              </a:rPr>
              <a:t>8</a:t>
            </a:r>
          </a:p>
        </p:txBody>
      </p:sp>
      <p:sp>
        <p:nvSpPr>
          <p:cNvPr id="30" name="TextBox 29">
            <a:extLst>
              <a:ext uri="{FF2B5EF4-FFF2-40B4-BE49-F238E27FC236}">
                <a16:creationId xmlns:a16="http://schemas.microsoft.com/office/drawing/2014/main" id="{B27779F9-29DE-4C3F-B6F3-001893029A9B}"/>
              </a:ext>
            </a:extLst>
          </p:cNvPr>
          <p:cNvSpPr txBox="1"/>
          <p:nvPr/>
        </p:nvSpPr>
        <p:spPr>
          <a:xfrm>
            <a:off x="1306286" y="3629419"/>
            <a:ext cx="10703152" cy="615553"/>
          </a:xfrm>
          <a:prstGeom prst="rect">
            <a:avLst/>
          </a:prstGeom>
          <a:noFill/>
        </p:spPr>
        <p:txBody>
          <a:bodyPr wrap="square" lIns="0" tIns="0" rIns="0" bIns="0" rtlCol="0">
            <a:spAutoFit/>
          </a:bodyPr>
          <a:lstStyle/>
          <a:p>
            <a:pPr lvl="0" defTabSz="711200">
              <a:spcBef>
                <a:spcPct val="0"/>
              </a:spcBef>
            </a:pPr>
            <a:r>
              <a:rPr lang="en-US" sz="2000" dirty="0"/>
              <a:t>Which Azure service should you use from the below list to monitor all unencrypted SQL databases in your organization?</a:t>
            </a:r>
          </a:p>
        </p:txBody>
      </p:sp>
      <p:cxnSp>
        <p:nvCxnSpPr>
          <p:cNvPr id="31" name="Straight Connector 30">
            <a:extLst>
              <a:ext uri="{FF2B5EF4-FFF2-40B4-BE49-F238E27FC236}">
                <a16:creationId xmlns:a16="http://schemas.microsoft.com/office/drawing/2014/main" id="{266696EB-8518-4957-9D6C-E801A4039BC2}"/>
              </a:ext>
              <a:ext uri="{C183D7F6-B498-43B3-948B-1728B52AA6E4}">
                <adec:decorative xmlns:adec="http://schemas.microsoft.com/office/drawing/2017/decorative" val="1"/>
              </a:ext>
            </a:extLst>
          </p:cNvPr>
          <p:cNvCxnSpPr>
            <a:cxnSpLocks/>
          </p:cNvCxnSpPr>
          <p:nvPr/>
        </p:nvCxnSpPr>
        <p:spPr>
          <a:xfrm>
            <a:off x="1306124" y="4435340"/>
            <a:ext cx="10746176"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52F8A307-4D32-43AD-B589-6B1BE3ECFD0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4590587"/>
            <a:ext cx="685800" cy="685800"/>
          </a:xfrm>
          <a:prstGeom prst="rect">
            <a:avLst/>
          </a:prstGeom>
        </p:spPr>
      </p:pic>
      <p:sp>
        <p:nvSpPr>
          <p:cNvPr id="33" name="Oval 32">
            <a:extLst>
              <a:ext uri="{FF2B5EF4-FFF2-40B4-BE49-F238E27FC236}">
                <a16:creationId xmlns:a16="http://schemas.microsoft.com/office/drawing/2014/main" id="{A8E3CA20-351E-481C-9DA1-E4036EA23A7F}"/>
              </a:ext>
            </a:extLst>
          </p:cNvPr>
          <p:cNvSpPr/>
          <p:nvPr/>
        </p:nvSpPr>
        <p:spPr bwMode="auto">
          <a:xfrm rot="10800000" flipV="1">
            <a:off x="482461" y="4642190"/>
            <a:ext cx="582594" cy="582594"/>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mj-lt"/>
                <a:ea typeface="Segoe UI" pitchFamily="34" charset="0"/>
                <a:cs typeface="Segoe UI" pitchFamily="34" charset="0"/>
              </a:rPr>
              <a:t>9</a:t>
            </a:r>
          </a:p>
        </p:txBody>
      </p:sp>
      <p:sp>
        <p:nvSpPr>
          <p:cNvPr id="34" name="TextBox 33">
            <a:extLst>
              <a:ext uri="{FF2B5EF4-FFF2-40B4-BE49-F238E27FC236}">
                <a16:creationId xmlns:a16="http://schemas.microsoft.com/office/drawing/2014/main" id="{B81AE78A-F156-4594-883D-C3BAB9E61F91}"/>
              </a:ext>
            </a:extLst>
          </p:cNvPr>
          <p:cNvSpPr txBox="1"/>
          <p:nvPr/>
        </p:nvSpPr>
        <p:spPr>
          <a:xfrm>
            <a:off x="1306286" y="4779599"/>
            <a:ext cx="10703152" cy="307777"/>
          </a:xfrm>
          <a:prstGeom prst="rect">
            <a:avLst/>
          </a:prstGeom>
          <a:noFill/>
        </p:spPr>
        <p:txBody>
          <a:bodyPr wrap="square" lIns="0" tIns="0" rIns="0" bIns="0" rtlCol="0">
            <a:spAutoFit/>
          </a:bodyPr>
          <a:lstStyle/>
          <a:p>
            <a:pPr lvl="0" defTabSz="711200">
              <a:spcBef>
                <a:spcPct val="0"/>
              </a:spcBef>
            </a:pPr>
            <a:r>
              <a:rPr lang="en-US" sz="2000" dirty="0"/>
              <a:t>Which facility allows you to prevent accidental deletion of resources in Azure?</a:t>
            </a:r>
          </a:p>
        </p:txBody>
      </p:sp>
    </p:spTree>
    <p:extLst>
      <p:ext uri="{BB962C8B-B14F-4D97-AF65-F5344CB8AC3E}">
        <p14:creationId xmlns:p14="http://schemas.microsoft.com/office/powerpoint/2010/main" val="86050532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59BF1-DFBD-478C-ACA3-333D99FCFEDF}"/>
              </a:ext>
            </a:extLst>
          </p:cNvPr>
          <p:cNvSpPr>
            <a:spLocks noGrp="1"/>
          </p:cNvSpPr>
          <p:nvPr>
            <p:ph type="title"/>
          </p:nvPr>
        </p:nvSpPr>
        <p:spPr>
          <a:xfrm>
            <a:off x="465138" y="632779"/>
            <a:ext cx="11533187" cy="411162"/>
          </a:xfrm>
        </p:spPr>
        <p:txBody>
          <a:bodyPr/>
          <a:lstStyle/>
          <a:p>
            <a:r>
              <a:rPr lang="en-US" dirty="0"/>
              <a:t>Learning Path review questions (continued)</a:t>
            </a:r>
          </a:p>
        </p:txBody>
      </p:sp>
      <p:pic>
        <p:nvPicPr>
          <p:cNvPr id="3" name="Picture 2">
            <a:extLst>
              <a:ext uri="{FF2B5EF4-FFF2-40B4-BE49-F238E27FC236}">
                <a16:creationId xmlns:a16="http://schemas.microsoft.com/office/drawing/2014/main" id="{B988BCFB-0BC9-4521-9B9E-4897973BE41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1355093"/>
            <a:ext cx="915924" cy="915924"/>
          </a:xfrm>
          <a:prstGeom prst="rect">
            <a:avLst/>
          </a:prstGeom>
        </p:spPr>
      </p:pic>
      <p:sp>
        <p:nvSpPr>
          <p:cNvPr id="4" name="Oval 3">
            <a:extLst>
              <a:ext uri="{FF2B5EF4-FFF2-40B4-BE49-F238E27FC236}">
                <a16:creationId xmlns:a16="http://schemas.microsoft.com/office/drawing/2014/main" id="{5D010595-CC0F-4F28-A32C-2291A9AFD36C}"/>
              </a:ext>
            </a:extLst>
          </p:cNvPr>
          <p:cNvSpPr/>
          <p:nvPr/>
        </p:nvSpPr>
        <p:spPr bwMode="auto">
          <a:xfrm rot="10800000" flipV="1">
            <a:off x="359751" y="1467535"/>
            <a:ext cx="1057753" cy="738665"/>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dirty="0">
                <a:solidFill>
                  <a:schemeClr val="tx1"/>
                </a:solidFill>
                <a:latin typeface="+mj-lt"/>
                <a:ea typeface="Segoe UI" pitchFamily="34" charset="0"/>
                <a:cs typeface="Segoe UI" pitchFamily="34" charset="0"/>
              </a:rPr>
              <a:t>10</a:t>
            </a:r>
          </a:p>
        </p:txBody>
      </p:sp>
      <p:sp>
        <p:nvSpPr>
          <p:cNvPr id="66" name="TextBox 65">
            <a:extLst>
              <a:ext uri="{FF2B5EF4-FFF2-40B4-BE49-F238E27FC236}">
                <a16:creationId xmlns:a16="http://schemas.microsoft.com/office/drawing/2014/main" id="{3C5FA106-5E25-4554-AB17-915634ED251D}"/>
              </a:ext>
            </a:extLst>
          </p:cNvPr>
          <p:cNvSpPr txBox="1"/>
          <p:nvPr/>
        </p:nvSpPr>
        <p:spPr>
          <a:xfrm>
            <a:off x="1557338" y="1628389"/>
            <a:ext cx="10452100" cy="369332"/>
          </a:xfrm>
          <a:prstGeom prst="rect">
            <a:avLst/>
          </a:prstGeom>
          <a:noFill/>
        </p:spPr>
        <p:txBody>
          <a:bodyPr wrap="square" lIns="0" tIns="0" rIns="0" bIns="0" rtlCol="0" anchor="ctr">
            <a:spAutoFit/>
          </a:bodyPr>
          <a:lstStyle/>
          <a:p>
            <a:pPr>
              <a:spcAft>
                <a:spcPts val="600"/>
              </a:spcAft>
            </a:pPr>
            <a:r>
              <a:rPr lang="en-US" sz="2400" dirty="0"/>
              <a:t>What issues are often associated with the use of open-source libraries? </a:t>
            </a:r>
          </a:p>
        </p:txBody>
      </p:sp>
      <p:cxnSp>
        <p:nvCxnSpPr>
          <p:cNvPr id="67" name="Straight Connector 66">
            <a:extLst>
              <a:ext uri="{FF2B5EF4-FFF2-40B4-BE49-F238E27FC236}">
                <a16:creationId xmlns:a16="http://schemas.microsoft.com/office/drawing/2014/main" id="{7A017D1E-285B-486F-A4F5-20F6F7DB78FD}"/>
              </a:ext>
              <a:ext uri="{C183D7F6-B498-43B3-948B-1728B52AA6E4}">
                <adec:decorative xmlns:adec="http://schemas.microsoft.com/office/drawing/2017/decorative" val="1"/>
              </a:ext>
            </a:extLst>
          </p:cNvPr>
          <p:cNvCxnSpPr>
            <a:cxnSpLocks/>
          </p:cNvCxnSpPr>
          <p:nvPr/>
        </p:nvCxnSpPr>
        <p:spPr>
          <a:xfrm>
            <a:off x="1557338" y="2365870"/>
            <a:ext cx="104521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8585FDC-2E61-4EE8-942F-1AB483404B7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2460723"/>
            <a:ext cx="915924" cy="915924"/>
          </a:xfrm>
          <a:prstGeom prst="rect">
            <a:avLst/>
          </a:prstGeom>
        </p:spPr>
      </p:pic>
      <p:sp>
        <p:nvSpPr>
          <p:cNvPr id="6" name="Oval 5">
            <a:extLst>
              <a:ext uri="{FF2B5EF4-FFF2-40B4-BE49-F238E27FC236}">
                <a16:creationId xmlns:a16="http://schemas.microsoft.com/office/drawing/2014/main" id="{3002A13C-E37E-468F-A120-048FE42E8A1D}"/>
              </a:ext>
            </a:extLst>
          </p:cNvPr>
          <p:cNvSpPr/>
          <p:nvPr/>
        </p:nvSpPr>
        <p:spPr bwMode="auto">
          <a:xfrm rot="10800000" flipV="1">
            <a:off x="352983" y="2529642"/>
            <a:ext cx="1057753"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dirty="0">
                <a:solidFill>
                  <a:schemeClr val="tx1"/>
                </a:solidFill>
                <a:latin typeface="+mj-lt"/>
                <a:ea typeface="Segoe UI" pitchFamily="34" charset="0"/>
                <a:cs typeface="Segoe UI" pitchFamily="34" charset="0"/>
              </a:rPr>
              <a:t>11</a:t>
            </a:r>
          </a:p>
        </p:txBody>
      </p:sp>
      <p:sp>
        <p:nvSpPr>
          <p:cNvPr id="71" name="TextBox 70">
            <a:extLst>
              <a:ext uri="{FF2B5EF4-FFF2-40B4-BE49-F238E27FC236}">
                <a16:creationId xmlns:a16="http://schemas.microsoft.com/office/drawing/2014/main" id="{D90624EA-5CBB-4AC1-A1C8-9BC7763B40F1}"/>
              </a:ext>
            </a:extLst>
          </p:cNvPr>
          <p:cNvSpPr txBox="1"/>
          <p:nvPr/>
        </p:nvSpPr>
        <p:spPr>
          <a:xfrm>
            <a:off x="1557338" y="2549353"/>
            <a:ext cx="10452100" cy="738664"/>
          </a:xfrm>
          <a:prstGeom prst="rect">
            <a:avLst/>
          </a:prstGeom>
          <a:noFill/>
        </p:spPr>
        <p:txBody>
          <a:bodyPr wrap="square" lIns="0" tIns="0" rIns="0" bIns="0" rtlCol="0" anchor="ctr">
            <a:spAutoFit/>
          </a:bodyPr>
          <a:lstStyle/>
          <a:p>
            <a:pPr>
              <a:spcAft>
                <a:spcPts val="600"/>
              </a:spcAft>
            </a:pPr>
            <a:r>
              <a:rPr lang="en-US" sz="2400" dirty="0"/>
              <a:t>How can an open-source library cause licensing issues if it is free to download?</a:t>
            </a:r>
          </a:p>
        </p:txBody>
      </p:sp>
      <p:cxnSp>
        <p:nvCxnSpPr>
          <p:cNvPr id="72" name="Straight Connector 71">
            <a:extLst>
              <a:ext uri="{FF2B5EF4-FFF2-40B4-BE49-F238E27FC236}">
                <a16:creationId xmlns:a16="http://schemas.microsoft.com/office/drawing/2014/main" id="{531D1E68-F3A6-4DB0-B336-E25B3753458C}"/>
              </a:ext>
              <a:ext uri="{C183D7F6-B498-43B3-948B-1728B52AA6E4}">
                <adec:decorative xmlns:adec="http://schemas.microsoft.com/office/drawing/2017/decorative" val="1"/>
              </a:ext>
            </a:extLst>
          </p:cNvPr>
          <p:cNvCxnSpPr>
            <a:cxnSpLocks/>
          </p:cNvCxnSpPr>
          <p:nvPr/>
        </p:nvCxnSpPr>
        <p:spPr>
          <a:xfrm>
            <a:off x="1557338" y="3471500"/>
            <a:ext cx="104521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008C569-F053-4A6D-85BA-24A907CE4A9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1428" y="3566353"/>
            <a:ext cx="915924" cy="915924"/>
          </a:xfrm>
          <a:prstGeom prst="rect">
            <a:avLst/>
          </a:prstGeom>
        </p:spPr>
      </p:pic>
      <p:sp>
        <p:nvSpPr>
          <p:cNvPr id="8" name="Oval 7">
            <a:extLst>
              <a:ext uri="{FF2B5EF4-FFF2-40B4-BE49-F238E27FC236}">
                <a16:creationId xmlns:a16="http://schemas.microsoft.com/office/drawing/2014/main" id="{5DC326C0-FA8B-4A35-B0AF-748BDD70EE0A}"/>
              </a:ext>
            </a:extLst>
          </p:cNvPr>
          <p:cNvSpPr/>
          <p:nvPr/>
        </p:nvSpPr>
        <p:spPr bwMode="auto">
          <a:xfrm rot="10800000" flipV="1">
            <a:off x="355020" y="3635272"/>
            <a:ext cx="1057753" cy="778086"/>
          </a:xfrm>
          <a:prstGeom prst="ellipse">
            <a:avLst/>
          </a:prstGeom>
          <a:noFill/>
          <a:ln w="28575">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600" b="1" dirty="0">
                <a:solidFill>
                  <a:schemeClr val="tx1"/>
                </a:solidFill>
                <a:latin typeface="+mj-lt"/>
                <a:ea typeface="Segoe UI" pitchFamily="34" charset="0"/>
                <a:cs typeface="Segoe UI" pitchFamily="34" charset="0"/>
              </a:rPr>
              <a:t>12</a:t>
            </a:r>
          </a:p>
        </p:txBody>
      </p:sp>
      <p:sp>
        <p:nvSpPr>
          <p:cNvPr id="76" name="TextBox 75">
            <a:extLst>
              <a:ext uri="{FF2B5EF4-FFF2-40B4-BE49-F238E27FC236}">
                <a16:creationId xmlns:a16="http://schemas.microsoft.com/office/drawing/2014/main" id="{0BC1C9E9-C916-4E5C-A06C-C3EFF19C97B9}"/>
              </a:ext>
            </a:extLst>
          </p:cNvPr>
          <p:cNvSpPr txBox="1"/>
          <p:nvPr/>
        </p:nvSpPr>
        <p:spPr>
          <a:xfrm>
            <a:off x="1557338" y="3839649"/>
            <a:ext cx="10452100" cy="369332"/>
          </a:xfrm>
          <a:prstGeom prst="rect">
            <a:avLst/>
          </a:prstGeom>
          <a:noFill/>
        </p:spPr>
        <p:txBody>
          <a:bodyPr wrap="square" lIns="0" tIns="0" rIns="0" bIns="0" rtlCol="0" anchor="ctr">
            <a:spAutoFit/>
          </a:bodyPr>
          <a:lstStyle/>
          <a:p>
            <a:pPr>
              <a:spcAft>
                <a:spcPts val="600"/>
              </a:spcAft>
            </a:pPr>
            <a:r>
              <a:rPr lang="en-US" sz="2400" dirty="0"/>
              <a:t>What is open-source software?</a:t>
            </a:r>
          </a:p>
        </p:txBody>
      </p:sp>
    </p:spTree>
    <p:extLst>
      <p:ext uri="{BB962C8B-B14F-4D97-AF65-F5344CB8AC3E}">
        <p14:creationId xmlns:p14="http://schemas.microsoft.com/office/powerpoint/2010/main" val="3163223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742578-EBA3-4E45-970E-F116ED67AAB1}"/>
              </a:ext>
            </a:extLst>
          </p:cNvPr>
          <p:cNvSpPr>
            <a:spLocks noGrp="1"/>
          </p:cNvSpPr>
          <p:nvPr>
            <p:ph type="title"/>
          </p:nvPr>
        </p:nvSpPr>
        <p:spPr>
          <a:xfrm>
            <a:off x="427038" y="632779"/>
            <a:ext cx="11571287" cy="411162"/>
          </a:xfrm>
        </p:spPr>
        <p:txBody>
          <a:bodyPr/>
          <a:lstStyle/>
          <a:p>
            <a:r>
              <a:rPr lang="en-US" dirty="0"/>
              <a:t>Introduction</a:t>
            </a:r>
          </a:p>
        </p:txBody>
      </p:sp>
      <p:sp>
        <p:nvSpPr>
          <p:cNvPr id="5" name="Rectangle 4">
            <a:extLst>
              <a:ext uri="{FF2B5EF4-FFF2-40B4-BE49-F238E27FC236}">
                <a16:creationId xmlns:a16="http://schemas.microsoft.com/office/drawing/2014/main" id="{B6E35D53-2385-4DC2-8C32-BD79B20948A9}"/>
              </a:ext>
            </a:extLst>
          </p:cNvPr>
          <p:cNvSpPr/>
          <p:nvPr/>
        </p:nvSpPr>
        <p:spPr>
          <a:xfrm>
            <a:off x="427038" y="1510748"/>
            <a:ext cx="6278562" cy="4871003"/>
          </a:xfrm>
          <a:prstGeom prst="rect">
            <a:avLst/>
          </a:prstGeom>
          <a:solidFill>
            <a:schemeClr val="bg1">
              <a:lumMod val="95000"/>
            </a:schemeClr>
          </a:solidFill>
        </p:spPr>
        <p:txBody>
          <a:bodyPr wrap="square" lIns="182880" tIns="137160" rIns="182880" bIns="137160" anchor="t">
            <a:noAutofit/>
          </a:bodyPr>
          <a:lstStyle/>
          <a:p>
            <a:r>
              <a:rPr lang="en-US" sz="2400" b="1" dirty="0">
                <a:ea typeface="+mn-lt"/>
                <a:cs typeface="+mn-lt"/>
              </a:rPr>
              <a:t>Security is everyone’s responsibility.</a:t>
            </a:r>
            <a:endParaRPr lang="en-US" b="1" dirty="0"/>
          </a:p>
          <a:p>
            <a:pPr>
              <a:spcBef>
                <a:spcPts val="1800"/>
              </a:spcBef>
            </a:pPr>
            <a:r>
              <a:rPr lang="en-US" sz="2400" dirty="0"/>
              <a:t>Securing applications is a continuous process that encompasses the following:</a:t>
            </a:r>
            <a:endParaRPr lang="en-US">
              <a:cs typeface="Segoe UI"/>
            </a:endParaRPr>
          </a:p>
          <a:p>
            <a:pPr marL="342900" indent="-342900">
              <a:spcBef>
                <a:spcPts val="1800"/>
              </a:spcBef>
              <a:buFont typeface="Arial"/>
              <a:buChar char="•"/>
            </a:pPr>
            <a:r>
              <a:rPr lang="en-US" sz="2400" dirty="0"/>
              <a:t>Secure infrastructure</a:t>
            </a:r>
            <a:endParaRPr lang="en-US" dirty="0"/>
          </a:p>
          <a:p>
            <a:pPr marL="342900" indent="-342900">
              <a:spcBef>
                <a:spcPts val="1800"/>
              </a:spcBef>
              <a:buFont typeface="Arial"/>
              <a:buChar char="•"/>
            </a:pPr>
            <a:r>
              <a:rPr lang="en-US" sz="2400" dirty="0"/>
              <a:t>Designing an architecture with layered security </a:t>
            </a:r>
            <a:endParaRPr lang="en-US" dirty="0"/>
          </a:p>
          <a:p>
            <a:pPr marL="342900" indent="-342900">
              <a:spcBef>
                <a:spcPts val="1800"/>
              </a:spcBef>
              <a:buFont typeface="Arial"/>
              <a:buChar char="•"/>
            </a:pPr>
            <a:r>
              <a:rPr lang="en-US" sz="2400" dirty="0"/>
              <a:t>Continuous security validation</a:t>
            </a:r>
            <a:endParaRPr lang="en-US" dirty="0"/>
          </a:p>
          <a:p>
            <a:pPr marL="342900" indent="-342900">
              <a:spcBef>
                <a:spcPts val="1800"/>
              </a:spcBef>
              <a:buFont typeface="Arial"/>
              <a:buChar char="•"/>
            </a:pPr>
            <a:r>
              <a:rPr lang="en-US" sz="2400" dirty="0"/>
              <a:t>Monitoring for attacks</a:t>
            </a:r>
            <a:endParaRPr lang="en-US" dirty="0">
              <a:cs typeface="Segoe UI"/>
            </a:endParaRPr>
          </a:p>
          <a:p>
            <a:pPr>
              <a:spcBef>
                <a:spcPts val="1800"/>
              </a:spcBef>
            </a:pPr>
            <a:endParaRPr lang="en-US" sz="2400" dirty="0">
              <a:cs typeface="Segoe UI"/>
            </a:endParaRPr>
          </a:p>
        </p:txBody>
      </p:sp>
      <p:pic>
        <p:nvPicPr>
          <p:cNvPr id="9" name="Picture 8" descr="Four part circle with Infrastructure, app architecture, monitoring, and continuous validation">
            <a:extLst>
              <a:ext uri="{FF2B5EF4-FFF2-40B4-BE49-F238E27FC236}">
                <a16:creationId xmlns:a16="http://schemas.microsoft.com/office/drawing/2014/main" id="{7C2DBAF3-ADEC-482B-A666-466B5066F133}"/>
              </a:ext>
            </a:extLst>
          </p:cNvPr>
          <p:cNvPicPr>
            <a:picLocks noChangeAspect="1"/>
          </p:cNvPicPr>
          <p:nvPr/>
        </p:nvPicPr>
        <p:blipFill rotWithShape="1">
          <a:blip r:embed="rId2"/>
          <a:srcRect l="-7743" t="-4954" r="-7743" b="-4954"/>
          <a:stretch/>
        </p:blipFill>
        <p:spPr>
          <a:xfrm>
            <a:off x="6911976" y="1524000"/>
            <a:ext cx="5097462" cy="4844498"/>
          </a:xfrm>
          <a:prstGeom prst="rect">
            <a:avLst/>
          </a:prstGeom>
          <a:solidFill>
            <a:schemeClr val="bg1"/>
          </a:solidFill>
          <a:ln w="19050">
            <a:solidFill>
              <a:schemeClr val="tx2"/>
            </a:solidFill>
            <a:headEnd type="none" w="med" len="med"/>
            <a:tailEnd type="none" w="med" len="med"/>
          </a:ln>
          <a:effectLst/>
        </p:spPr>
      </p:pic>
    </p:spTree>
    <p:extLst>
      <p:ext uri="{BB962C8B-B14F-4D97-AF65-F5344CB8AC3E}">
        <p14:creationId xmlns:p14="http://schemas.microsoft.com/office/powerpoint/2010/main" val="21051025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B513F-2D0F-41C6-ADDA-C612BBEC95E5}"/>
              </a:ext>
            </a:extLst>
          </p:cNvPr>
          <p:cNvSpPr>
            <a:spLocks noGrp="1"/>
          </p:cNvSpPr>
          <p:nvPr>
            <p:ph type="title"/>
          </p:nvPr>
        </p:nvSpPr>
        <p:spPr>
          <a:xfrm>
            <a:off x="427038" y="632779"/>
            <a:ext cx="11571287" cy="411162"/>
          </a:xfrm>
        </p:spPr>
        <p:txBody>
          <a:bodyPr/>
          <a:lstStyle/>
          <a:p>
            <a:r>
              <a:rPr lang="en-US" dirty="0"/>
              <a:t>Describe SQL injection attack</a:t>
            </a:r>
          </a:p>
        </p:txBody>
      </p:sp>
      <p:pic>
        <p:nvPicPr>
          <p:cNvPr id="62" name="Picture 61" descr="Screenshot from the video showing a simple web app with SQL database exposing a possible threat">
            <a:extLst>
              <a:ext uri="{FF2B5EF4-FFF2-40B4-BE49-F238E27FC236}">
                <a16:creationId xmlns:a16="http://schemas.microsoft.com/office/drawing/2014/main" id="{96FC6D9A-5666-402B-B737-036B9E5E933A}"/>
              </a:ext>
            </a:extLst>
          </p:cNvPr>
          <p:cNvPicPr>
            <a:picLocks noChangeAspect="1"/>
          </p:cNvPicPr>
          <p:nvPr/>
        </p:nvPicPr>
        <p:blipFill>
          <a:blip r:embed="rId2"/>
          <a:stretch>
            <a:fillRect/>
          </a:stretch>
        </p:blipFill>
        <p:spPr>
          <a:xfrm>
            <a:off x="417390" y="1408414"/>
            <a:ext cx="11601694" cy="4749196"/>
          </a:xfrm>
          <a:prstGeom prst="rect">
            <a:avLst/>
          </a:prstGeom>
        </p:spPr>
      </p:pic>
    </p:spTree>
    <p:extLst>
      <p:ext uri="{BB962C8B-B14F-4D97-AF65-F5344CB8AC3E}">
        <p14:creationId xmlns:p14="http://schemas.microsoft.com/office/powerpoint/2010/main" val="42137505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27038" y="632779"/>
            <a:ext cx="11571287" cy="411162"/>
          </a:xfrm>
        </p:spPr>
        <p:txBody>
          <a:bodyPr/>
          <a:lstStyle/>
          <a:p>
            <a:r>
              <a:rPr lang="en-US" dirty="0"/>
              <a:t>Understand </a:t>
            </a:r>
            <a:r>
              <a:rPr lang="en-US" dirty="0" err="1"/>
              <a:t>DevSecOps</a:t>
            </a:r>
            <a:endParaRPr lang="en-US" dirty="0"/>
          </a:p>
        </p:txBody>
      </p:sp>
      <p:sp>
        <p:nvSpPr>
          <p:cNvPr id="11" name="Rectangle 10">
            <a:extLst>
              <a:ext uri="{FF2B5EF4-FFF2-40B4-BE49-F238E27FC236}">
                <a16:creationId xmlns:a16="http://schemas.microsoft.com/office/drawing/2014/main" id="{A70B1761-B818-4A25-B681-AA1A0C42DC84}"/>
              </a:ext>
            </a:extLst>
          </p:cNvPr>
          <p:cNvSpPr/>
          <p:nvPr/>
        </p:nvSpPr>
        <p:spPr>
          <a:xfrm>
            <a:off x="427038" y="1535639"/>
            <a:ext cx="6723062" cy="1501215"/>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ctr" anchorCtr="0">
            <a:noAutofit/>
          </a:bodyPr>
          <a:lstStyle/>
          <a:p>
            <a:pPr lvl="0" defTabSz="1377950">
              <a:spcBef>
                <a:spcPct val="0"/>
              </a:spcBef>
            </a:pPr>
            <a:r>
              <a:rPr lang="en-US" sz="2400" dirty="0">
                <a:solidFill>
                  <a:schemeClr val="tx1"/>
                </a:solidFill>
              </a:rPr>
              <a:t>Secure DevOps is a set of practices designed to integrate DevOps and security</a:t>
            </a:r>
            <a:endParaRPr lang="en-IN" sz="2400" dirty="0">
              <a:solidFill>
                <a:schemeClr val="tx1"/>
              </a:solidFill>
            </a:endParaRPr>
          </a:p>
        </p:txBody>
      </p:sp>
      <p:sp>
        <p:nvSpPr>
          <p:cNvPr id="15" name="Rectangle 14">
            <a:extLst>
              <a:ext uri="{FF2B5EF4-FFF2-40B4-BE49-F238E27FC236}">
                <a16:creationId xmlns:a16="http://schemas.microsoft.com/office/drawing/2014/main" id="{AC73AB88-F05D-4A48-AE75-D365C008D123}"/>
              </a:ext>
            </a:extLst>
          </p:cNvPr>
          <p:cNvSpPr/>
          <p:nvPr/>
        </p:nvSpPr>
        <p:spPr>
          <a:xfrm>
            <a:off x="427038" y="3166795"/>
            <a:ext cx="6723062" cy="1501215"/>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ctr" anchorCtr="0">
            <a:noAutofit/>
          </a:bodyPr>
          <a:lstStyle/>
          <a:p>
            <a:pPr lvl="0" defTabSz="1377950">
              <a:spcBef>
                <a:spcPct val="0"/>
              </a:spcBef>
            </a:pPr>
            <a:r>
              <a:rPr lang="en-US" sz="2400" dirty="0">
                <a:solidFill>
                  <a:schemeClr val="tx1"/>
                </a:solidFill>
              </a:rPr>
              <a:t>The goal is to enable development teams to work fast without introducing unwanted vulnerabilities</a:t>
            </a:r>
            <a:endParaRPr lang="en-IN" sz="2400" dirty="0">
              <a:solidFill>
                <a:schemeClr val="tx1"/>
              </a:solidFill>
            </a:endParaRPr>
          </a:p>
        </p:txBody>
      </p:sp>
      <p:sp>
        <p:nvSpPr>
          <p:cNvPr id="21" name="Rectangle 20">
            <a:extLst>
              <a:ext uri="{FF2B5EF4-FFF2-40B4-BE49-F238E27FC236}">
                <a16:creationId xmlns:a16="http://schemas.microsoft.com/office/drawing/2014/main" id="{ACBCD953-A2FA-4E15-BA47-7612E7F5589D}"/>
              </a:ext>
            </a:extLst>
          </p:cNvPr>
          <p:cNvSpPr/>
          <p:nvPr/>
        </p:nvSpPr>
        <p:spPr>
          <a:xfrm>
            <a:off x="427038" y="4797949"/>
            <a:ext cx="6723062" cy="1501215"/>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ctr" anchorCtr="0">
            <a:noAutofit/>
          </a:bodyPr>
          <a:lstStyle/>
          <a:p>
            <a:pPr lvl="0" defTabSz="1377950">
              <a:spcBef>
                <a:spcPct val="0"/>
              </a:spcBef>
            </a:pPr>
            <a:r>
              <a:rPr lang="en-US" sz="2400" dirty="0">
                <a:solidFill>
                  <a:schemeClr val="tx1"/>
                </a:solidFill>
              </a:rPr>
              <a:t>Security strategy includes access control, environment hardening, perimeter protection, and more</a:t>
            </a:r>
            <a:endParaRPr lang="en-IN" sz="2400" dirty="0">
              <a:solidFill>
                <a:schemeClr val="tx1"/>
              </a:solidFill>
            </a:endParaRPr>
          </a:p>
        </p:txBody>
      </p:sp>
      <p:sp>
        <p:nvSpPr>
          <p:cNvPr id="29" name="Rectangle 28">
            <a:extLst>
              <a:ext uri="{FF2B5EF4-FFF2-40B4-BE49-F238E27FC236}">
                <a16:creationId xmlns:a16="http://schemas.microsoft.com/office/drawing/2014/main" id="{471E2DE3-3623-4515-A01C-198B5FD51652}"/>
              </a:ext>
              <a:ext uri="{C183D7F6-B498-43B3-948B-1728B52AA6E4}">
                <adec:decorative xmlns:adec="http://schemas.microsoft.com/office/drawing/2017/decorative" val="0"/>
              </a:ext>
            </a:extLst>
          </p:cNvPr>
          <p:cNvSpPr/>
          <p:nvPr/>
        </p:nvSpPr>
        <p:spPr bwMode="auto">
          <a:xfrm>
            <a:off x="7283076" y="1535639"/>
            <a:ext cx="4726361" cy="4763525"/>
          </a:xfrm>
          <a:prstGeom prst="rect">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37160" rIns="182880" bIns="13716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dirty="0">
                <a:solidFill>
                  <a:schemeClr val="tx1"/>
                </a:solidFill>
              </a:rPr>
              <a:t>Secure DevOps is also sometimes referred to as </a:t>
            </a:r>
            <a:r>
              <a:rPr lang="en-US" sz="2000" i="1" dirty="0" err="1">
                <a:solidFill>
                  <a:schemeClr val="tx1"/>
                </a:solidFill>
              </a:rPr>
              <a:t>DevSecOps</a:t>
            </a:r>
            <a:endParaRPr lang="en-US" sz="2000" dirty="0">
              <a:solidFill>
                <a:schemeClr val="tx1"/>
              </a:solidFill>
            </a:endParaRPr>
          </a:p>
        </p:txBody>
      </p:sp>
      <p:pic>
        <p:nvPicPr>
          <p:cNvPr id="3" name="Picture 2" descr="Diagram, venn diagram&#10;&#10;Description automatically generated">
            <a:extLst>
              <a:ext uri="{FF2B5EF4-FFF2-40B4-BE49-F238E27FC236}">
                <a16:creationId xmlns:a16="http://schemas.microsoft.com/office/drawing/2014/main" id="{B8CC0AE6-954D-480F-9FE1-F6510C2C3B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8311" y="2000077"/>
            <a:ext cx="4415889" cy="2667933"/>
          </a:xfrm>
          <a:prstGeom prst="rect">
            <a:avLst/>
          </a:prstGeom>
        </p:spPr>
      </p:pic>
    </p:spTree>
    <p:extLst>
      <p:ext uri="{BB962C8B-B14F-4D97-AF65-F5344CB8AC3E}">
        <p14:creationId xmlns:p14="http://schemas.microsoft.com/office/powerpoint/2010/main" val="212800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2A7F1-04F2-4BA2-A175-CFA10C37119D}"/>
              </a:ext>
            </a:extLst>
          </p:cNvPr>
          <p:cNvSpPr>
            <a:spLocks noGrp="1"/>
          </p:cNvSpPr>
          <p:nvPr>
            <p:ph type="title"/>
          </p:nvPr>
        </p:nvSpPr>
        <p:spPr>
          <a:xfrm>
            <a:off x="427038" y="632779"/>
            <a:ext cx="11571287" cy="411162"/>
          </a:xfrm>
        </p:spPr>
        <p:txBody>
          <a:bodyPr/>
          <a:lstStyle/>
          <a:p>
            <a:r>
              <a:rPr lang="en-US" dirty="0"/>
              <a:t>Explore Secure DevOps pipeline</a:t>
            </a:r>
          </a:p>
        </p:txBody>
      </p:sp>
      <p:sp>
        <p:nvSpPr>
          <p:cNvPr id="99" name="Rectangle 98">
            <a:extLst>
              <a:ext uri="{FF2B5EF4-FFF2-40B4-BE49-F238E27FC236}">
                <a16:creationId xmlns:a16="http://schemas.microsoft.com/office/drawing/2014/main" id="{7BC8FC91-1547-4863-9FB2-DAC06AB3C1C0}"/>
              </a:ext>
            </a:extLst>
          </p:cNvPr>
          <p:cNvSpPr/>
          <p:nvPr/>
        </p:nvSpPr>
        <p:spPr>
          <a:xfrm>
            <a:off x="427038" y="1536699"/>
            <a:ext cx="5944733" cy="2441724"/>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r>
              <a:rPr lang="en-US" sz="2400" dirty="0">
                <a:solidFill>
                  <a:schemeClr val="tx1"/>
                </a:solidFill>
                <a:latin typeface="+mj-lt"/>
              </a:rPr>
              <a:t>Package management</a:t>
            </a:r>
            <a:r>
              <a:rPr lang="en-US" sz="2400" dirty="0">
                <a:solidFill>
                  <a:schemeClr val="tx1"/>
                </a:solidFill>
              </a:rPr>
              <a:t>, and the approval process associated with it, accounts for how software packages are added to the pipeline, and the approval process they need to go through</a:t>
            </a:r>
          </a:p>
        </p:txBody>
      </p:sp>
      <p:sp>
        <p:nvSpPr>
          <p:cNvPr id="103" name="Rectangle 102">
            <a:extLst>
              <a:ext uri="{FF2B5EF4-FFF2-40B4-BE49-F238E27FC236}">
                <a16:creationId xmlns:a16="http://schemas.microsoft.com/office/drawing/2014/main" id="{70DDF1F2-CDB9-4239-AF6D-637D770D595E}"/>
              </a:ext>
            </a:extLst>
          </p:cNvPr>
          <p:cNvSpPr/>
          <p:nvPr/>
        </p:nvSpPr>
        <p:spPr>
          <a:xfrm>
            <a:off x="427038" y="4103538"/>
            <a:ext cx="5944733" cy="2441724"/>
          </a:xfrm>
          <a:prstGeom prst="rect">
            <a:avLst/>
          </a:pr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2880" tIns="137160" rIns="182880" bIns="137160" numCol="1" spcCol="1270" anchor="t" anchorCtr="0">
            <a:noAutofit/>
          </a:bodyPr>
          <a:lstStyle/>
          <a:p>
            <a:r>
              <a:rPr lang="en-US" sz="2400" dirty="0">
                <a:solidFill>
                  <a:schemeClr val="tx1"/>
                </a:solidFill>
                <a:latin typeface="+mj-lt"/>
              </a:rPr>
              <a:t>Source scanner </a:t>
            </a:r>
            <a:r>
              <a:rPr lang="en-US" sz="2400" dirty="0">
                <a:solidFill>
                  <a:schemeClr val="tx1"/>
                </a:solidFill>
              </a:rPr>
              <a:t>is for performing a security scan to verify certain security vulnerabilities are not present in our application source code</a:t>
            </a:r>
          </a:p>
        </p:txBody>
      </p:sp>
      <p:pic>
        <p:nvPicPr>
          <p:cNvPr id="4" name="Picture 3" descr="A diagram representing the Rugged DevOps pipeline has ten circles arranged in a larger circle. The ten inner circles are labeled OSS Management service, package manager, version control, build and CI agent, source scanner, release pipeline with testing, dynamic scanner, deployment, monitoring, and devops team. Two additional circles outside the larger circle are labeled external package feeds and approval process. External package feeds points to OSS management service, which points to approval process, which points to package manager">
            <a:extLst>
              <a:ext uri="{FF2B5EF4-FFF2-40B4-BE49-F238E27FC236}">
                <a16:creationId xmlns:a16="http://schemas.microsoft.com/office/drawing/2014/main" id="{75621671-64B3-46B6-BC66-F2B09385B30F}"/>
              </a:ext>
            </a:extLst>
          </p:cNvPr>
          <p:cNvPicPr>
            <a:picLocks noChangeAspect="1"/>
          </p:cNvPicPr>
          <p:nvPr/>
        </p:nvPicPr>
        <p:blipFill rotWithShape="1">
          <a:blip r:embed="rId3"/>
          <a:srcRect l="-4308" t="-2980" r="-4065" b="-2980"/>
          <a:stretch/>
        </p:blipFill>
        <p:spPr>
          <a:xfrm>
            <a:off x="6498928" y="1553029"/>
            <a:ext cx="5499397" cy="4992914"/>
          </a:xfrm>
          <a:prstGeom prst="rect">
            <a:avLst/>
          </a:prstGeom>
          <a:noFill/>
          <a:ln w="19050">
            <a:solidFill>
              <a:schemeClr val="tx2"/>
            </a:solidFill>
            <a:headEnd type="none" w="med" len="med"/>
            <a:tailEnd type="none" w="med" len="med"/>
          </a:ln>
          <a:effectLst/>
        </p:spPr>
      </p:pic>
    </p:spTree>
    <p:extLst>
      <p:ext uri="{BB962C8B-B14F-4D97-AF65-F5344CB8AC3E}">
        <p14:creationId xmlns:p14="http://schemas.microsoft.com/office/powerpoint/2010/main" val="193331137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rJ0L_57kiUHpocC5i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7rjcNmEUON9t36Z8WX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y6qwapX0KPYZvFKQvU0A"/>
</p:tagLst>
</file>

<file path=ppt/theme/theme1.xml><?xml version="1.0" encoding="utf-8"?>
<a:theme xmlns:a="http://schemas.openxmlformats.org/drawingml/2006/main" name="Azure 1">
  <a:themeElements>
    <a:clrScheme name="Custom 3">
      <a:dk1>
        <a:srgbClr val="000000"/>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E0AACF14ED30409321E086CBD493A2" ma:contentTypeVersion="4" ma:contentTypeDescription="Create a new document." ma:contentTypeScope="" ma:versionID="4889ff27a5c2cc44e382597e2323a2d2">
  <xsd:schema xmlns:xsd="http://www.w3.org/2001/XMLSchema" xmlns:xs="http://www.w3.org/2001/XMLSchema" xmlns:p="http://schemas.microsoft.com/office/2006/metadata/properties" xmlns:ns2="cdb59daf-14e9-4edf-afe9-ce5cf0512301" targetNamespace="http://schemas.microsoft.com/office/2006/metadata/properties" ma:root="true" ma:fieldsID="ccc9e7c3ccd46f28271fd42ef4ff5512" ns2:_="">
    <xsd:import namespace="cdb59daf-14e9-4edf-afe9-ce5cf051230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b59daf-14e9-4edf-afe9-ce5cf05123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FB148A1F-E03C-4C49-961C-60D91DF5AD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b59daf-14e9-4edf-afe9-ce5cf05123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898</TotalTime>
  <Words>4915</Words>
  <Application>Microsoft Office PowerPoint</Application>
  <PresentationFormat>Custom</PresentationFormat>
  <Paragraphs>522</Paragraphs>
  <Slides>54</Slides>
  <Notes>34</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54</vt:i4>
      </vt:variant>
    </vt:vector>
  </HeadingPairs>
  <TitlesOfParts>
    <vt:vector size="65" baseType="lpstr">
      <vt:lpstr>&amp;quot</vt:lpstr>
      <vt:lpstr>-apple-system</vt:lpstr>
      <vt:lpstr>Arial</vt:lpstr>
      <vt:lpstr>Calibri</vt:lpstr>
      <vt:lpstr>Consolas</vt:lpstr>
      <vt:lpstr>Segoe UI</vt:lpstr>
      <vt:lpstr>Segoe UI Light</vt:lpstr>
      <vt:lpstr>Segoe UI Semibold</vt:lpstr>
      <vt:lpstr>Segoe UI Semilight</vt:lpstr>
      <vt:lpstr>Wingdings</vt:lpstr>
      <vt:lpstr>Azure 1</vt:lpstr>
      <vt:lpstr>AZ-400.00 Learning Path 07: Implement security and validate code bases for compliance</vt:lpstr>
      <vt:lpstr>Learning Path overview</vt:lpstr>
      <vt:lpstr>Learning Path overview</vt:lpstr>
      <vt:lpstr>Learning objectives</vt:lpstr>
      <vt:lpstr>Module 01: Introduction to Secure DevOps</vt:lpstr>
      <vt:lpstr>Introduction</vt:lpstr>
      <vt:lpstr>Describe SQL injection attack</vt:lpstr>
      <vt:lpstr>Understand DevSecOps</vt:lpstr>
      <vt:lpstr>Explore Secure DevOps pipeline</vt:lpstr>
      <vt:lpstr>Explore key validation points</vt:lpstr>
      <vt:lpstr>Explore continuous security validation</vt:lpstr>
      <vt:lpstr>Understand threat modeling</vt:lpstr>
      <vt:lpstr>Threat modeling </vt:lpstr>
      <vt:lpstr>Module 02: Implement open-source software</vt:lpstr>
      <vt:lpstr>Explore how software is built</vt:lpstr>
      <vt:lpstr>What is open-source software?</vt:lpstr>
      <vt:lpstr>Explore corporate concerns with open-source software components</vt:lpstr>
      <vt:lpstr>Introduction to open-source licenses</vt:lpstr>
      <vt:lpstr>Explore common open-source licenses</vt:lpstr>
      <vt:lpstr>Examine license implications and ratings</vt:lpstr>
      <vt:lpstr>Module 03: Software Composition Analysis</vt:lpstr>
      <vt:lpstr>Inspect and validate code bases for compliance</vt:lpstr>
      <vt:lpstr>Explore software composition analysis (SCA)</vt:lpstr>
      <vt:lpstr>Integrate Mend with Azure Pipelines</vt:lpstr>
      <vt:lpstr>Implement GitHub Dependabot alerts and security updates</vt:lpstr>
      <vt:lpstr>Integrate software composition analysis checks into pipelines</vt:lpstr>
      <vt:lpstr>Examine tools for assess package security and license rate</vt:lpstr>
      <vt:lpstr>Interpret alerts from scanner tools</vt:lpstr>
      <vt:lpstr>Module 04: Static analyzers</vt:lpstr>
      <vt:lpstr>Explore SonarCloud</vt:lpstr>
      <vt:lpstr>Explore CodeQL in GitHub</vt:lpstr>
      <vt:lpstr>Module 05: OWASP and Dynamic Analyzers</vt:lpstr>
      <vt:lpstr>Plan to Implement OWASP Secure Coding Practices</vt:lpstr>
      <vt:lpstr>Explore OWASP ZAP penetration test</vt:lpstr>
      <vt:lpstr>Explore OWASP ZAP results and bugs</vt:lpstr>
      <vt:lpstr>Discussion: Security policy tooling</vt:lpstr>
      <vt:lpstr>Module 06: Security Monitoring and Governance</vt:lpstr>
      <vt:lpstr>Implement pipeline security</vt:lpstr>
      <vt:lpstr>Explore Microsoft Defender for Cloud</vt:lpstr>
      <vt:lpstr>Examine Microsoft Defender for Cloud usage scenarios</vt:lpstr>
      <vt:lpstr>Explore Azure Policy</vt:lpstr>
      <vt:lpstr>Understand policies</vt:lpstr>
      <vt:lpstr>Explore initiatives</vt:lpstr>
      <vt:lpstr>Explore resource locks</vt:lpstr>
      <vt:lpstr>Explore Azure Blueprints</vt:lpstr>
      <vt:lpstr>Understand Microsoft Defender for Identity</vt:lpstr>
      <vt:lpstr>Labs</vt:lpstr>
      <vt:lpstr>Lab: Implement security and compliance in Azure Pipelines </vt:lpstr>
      <vt:lpstr>Lab: Managing technical debt with SonarQube and Azure DevOps</vt:lpstr>
      <vt:lpstr>Learning Path review and takeaways</vt:lpstr>
      <vt:lpstr>What did you learn?</vt:lpstr>
      <vt:lpstr>Learning Path review questions</vt:lpstr>
      <vt:lpstr>Learning Path review questions (continued)</vt:lpstr>
      <vt:lpstr>Learning Path review questions (continu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400T00 Module 19: Implement compliance and security in your infrastructure</dc:title>
  <dc:creator>Luiz Macedo</dc:creator>
  <cp:lastModifiedBy>Luiz Macedo</cp:lastModifiedBy>
  <cp:revision>124</cp:revision>
  <dcterms:created xsi:type="dcterms:W3CDTF">2020-04-30T00:33:59Z</dcterms:created>
  <dcterms:modified xsi:type="dcterms:W3CDTF">2022-12-07T21:2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2AE0AACF14ED30409321E086CBD493A2</vt:lpwstr>
  </property>
</Properties>
</file>